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31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32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33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39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9"/>
  </p:notesMasterIdLst>
  <p:sldIdLst>
    <p:sldId id="1428" r:id="rId2"/>
    <p:sldId id="1551" r:id="rId3"/>
    <p:sldId id="1552" r:id="rId4"/>
    <p:sldId id="1925" r:id="rId5"/>
    <p:sldId id="1922" r:id="rId6"/>
    <p:sldId id="1924" r:id="rId7"/>
    <p:sldId id="1961" r:id="rId8"/>
    <p:sldId id="1907" r:id="rId9"/>
    <p:sldId id="1945" r:id="rId10"/>
    <p:sldId id="1962" r:id="rId11"/>
    <p:sldId id="1964" r:id="rId12"/>
    <p:sldId id="1965" r:id="rId13"/>
    <p:sldId id="1966" r:id="rId14"/>
    <p:sldId id="1967" r:id="rId15"/>
    <p:sldId id="1968" r:id="rId16"/>
    <p:sldId id="1969" r:id="rId17"/>
    <p:sldId id="1970" r:id="rId18"/>
    <p:sldId id="1971" r:id="rId19"/>
    <p:sldId id="1972" r:id="rId20"/>
    <p:sldId id="1973" r:id="rId21"/>
    <p:sldId id="1974" r:id="rId22"/>
    <p:sldId id="1975" r:id="rId23"/>
    <p:sldId id="1976" r:id="rId24"/>
    <p:sldId id="1977" r:id="rId25"/>
    <p:sldId id="1978" r:id="rId26"/>
    <p:sldId id="1942" r:id="rId27"/>
    <p:sldId id="1474" r:id="rId28"/>
    <p:sldId id="1481" r:id="rId29"/>
    <p:sldId id="1482" r:id="rId30"/>
    <p:sldId id="1475" r:id="rId31"/>
    <p:sldId id="1483" r:id="rId32"/>
    <p:sldId id="1923" r:id="rId33"/>
    <p:sldId id="1476" r:id="rId34"/>
    <p:sldId id="1523" r:id="rId35"/>
    <p:sldId id="1524" r:id="rId36"/>
    <p:sldId id="1595" r:id="rId37"/>
    <p:sldId id="1639" r:id="rId38"/>
    <p:sldId id="1802" r:id="rId39"/>
    <p:sldId id="1829" r:id="rId40"/>
    <p:sldId id="1823" r:id="rId41"/>
    <p:sldId id="1845" r:id="rId42"/>
    <p:sldId id="1864" r:id="rId43"/>
    <p:sldId id="1866" r:id="rId44"/>
    <p:sldId id="1886" r:id="rId45"/>
    <p:sldId id="1528" r:id="rId46"/>
    <p:sldId id="1530" r:id="rId47"/>
    <p:sldId id="1571" r:id="rId48"/>
    <p:sldId id="1572" r:id="rId49"/>
    <p:sldId id="1596" r:id="rId50"/>
    <p:sldId id="1615" r:id="rId51"/>
    <p:sldId id="1617" r:id="rId52"/>
    <p:sldId id="1641" r:id="rId53"/>
    <p:sldId id="1784" r:id="rId54"/>
    <p:sldId id="1804" r:id="rId55"/>
    <p:sldId id="1888" r:id="rId56"/>
    <p:sldId id="1592" r:id="rId57"/>
    <p:sldId id="1593" r:id="rId58"/>
  </p:sldIdLst>
  <p:sldSz cx="12192000" cy="6858000"/>
  <p:notesSz cx="6858000" cy="9144000"/>
  <p:custDataLst>
    <p:tags r:id="rId60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E34E"/>
    <a:srgbClr val="FFFF00"/>
    <a:srgbClr val="E4F828"/>
    <a:srgbClr val="000000"/>
    <a:srgbClr val="0000FF"/>
    <a:srgbClr val="00FF00"/>
    <a:srgbClr val="FF9966"/>
    <a:srgbClr val="FF9933"/>
    <a:srgbClr val="00B0F0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99" autoAdjust="0"/>
    <p:restoredTop sz="96400" autoAdjust="0"/>
  </p:normalViewPr>
  <p:slideViewPr>
    <p:cSldViewPr snapToGrid="0">
      <p:cViewPr varScale="1">
        <p:scale>
          <a:sx n="104" d="100"/>
          <a:sy n="104" d="100"/>
        </p:scale>
        <p:origin x="348" y="96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commentAuthors" Target="commentAuthor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ags" Target="tags/tag1.xml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00259161526445E-2"/>
          <c:y val="4.7634439213742094E-2"/>
          <c:w val="0.94059218467024752"/>
          <c:h val="0.745772378749616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36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CI$1</c:f>
              <c:strCache>
                <c:ptCount val="86"/>
                <c:pt idx="0">
                  <c:v>27.4.–3.5.</c:v>
                </c:pt>
                <c:pt idx="1">
                  <c:v>4.5.–10.5.</c:v>
                </c:pt>
                <c:pt idx="2">
                  <c:v>11.5.–17.5.</c:v>
                </c:pt>
                <c:pt idx="3">
                  <c:v>18.5.–24.5.</c:v>
                </c:pt>
                <c:pt idx="4">
                  <c:v>25.5.–31.5.</c:v>
                </c:pt>
                <c:pt idx="5">
                  <c:v>1.6.–7.6.</c:v>
                </c:pt>
                <c:pt idx="6">
                  <c:v>8.6.–14.6.</c:v>
                </c:pt>
                <c:pt idx="7">
                  <c:v>15.6.–21.6.</c:v>
                </c:pt>
                <c:pt idx="8">
                  <c:v>22.6.–28.6.</c:v>
                </c:pt>
                <c:pt idx="9">
                  <c:v>29.6.–5.7.</c:v>
                </c:pt>
                <c:pt idx="10">
                  <c:v>6.7.–12.7.</c:v>
                </c:pt>
                <c:pt idx="11">
                  <c:v>13.7.–19.7.</c:v>
                </c:pt>
                <c:pt idx="12">
                  <c:v>20.7.–26.7.</c:v>
                </c:pt>
                <c:pt idx="13">
                  <c:v>27.7.–2.8.</c:v>
                </c:pt>
                <c:pt idx="14">
                  <c:v>3.8.–9.8.</c:v>
                </c:pt>
                <c:pt idx="15">
                  <c:v>10.8.–16.8.</c:v>
                </c:pt>
                <c:pt idx="16">
                  <c:v>17.8.–23.8.</c:v>
                </c:pt>
                <c:pt idx="17">
                  <c:v>24.8.–30.8.</c:v>
                </c:pt>
                <c:pt idx="18">
                  <c:v>31.8.–6.9.</c:v>
                </c:pt>
                <c:pt idx="19">
                  <c:v>7.9.–13.9.</c:v>
                </c:pt>
                <c:pt idx="20">
                  <c:v>14.9.–20.9.</c:v>
                </c:pt>
                <c:pt idx="21">
                  <c:v>21.9.–27.9.</c:v>
                </c:pt>
                <c:pt idx="22">
                  <c:v>28.9.–4.10.</c:v>
                </c:pt>
                <c:pt idx="23">
                  <c:v>5.10.–11.10.</c:v>
                </c:pt>
                <c:pt idx="24">
                  <c:v>12.10.–18.10.</c:v>
                </c:pt>
                <c:pt idx="25">
                  <c:v>19.10.–25.10.</c:v>
                </c:pt>
                <c:pt idx="26">
                  <c:v>26.10.–1.11.</c:v>
                </c:pt>
                <c:pt idx="27">
                  <c:v>2.11.–8.11.</c:v>
                </c:pt>
                <c:pt idx="28">
                  <c:v>9.11.–15.11.</c:v>
                </c:pt>
                <c:pt idx="29">
                  <c:v>16.11.–22.11.</c:v>
                </c:pt>
                <c:pt idx="30">
                  <c:v>23.11.–29.11.</c:v>
                </c:pt>
                <c:pt idx="31">
                  <c:v>30.11.–6.12.</c:v>
                </c:pt>
                <c:pt idx="32">
                  <c:v>7.12.–13.12.</c:v>
                </c:pt>
                <c:pt idx="33">
                  <c:v>14.12.–20.12.</c:v>
                </c:pt>
                <c:pt idx="34">
                  <c:v>21.12.–27.12.</c:v>
                </c:pt>
                <c:pt idx="35">
                  <c:v>28.12.–3.1.</c:v>
                </c:pt>
                <c:pt idx="36">
                  <c:v>4.1.–10.1.</c:v>
                </c:pt>
                <c:pt idx="37">
                  <c:v>11.1.–17.1.</c:v>
                </c:pt>
                <c:pt idx="38">
                  <c:v>18.1.–24.1.</c:v>
                </c:pt>
                <c:pt idx="39">
                  <c:v>25.1.–31.1.</c:v>
                </c:pt>
                <c:pt idx="40">
                  <c:v>1.2.–7.2.</c:v>
                </c:pt>
                <c:pt idx="41">
                  <c:v>8.2.–14.2.</c:v>
                </c:pt>
                <c:pt idx="42">
                  <c:v>15.2.–21.2.</c:v>
                </c:pt>
                <c:pt idx="43">
                  <c:v>22.2.–28.2.</c:v>
                </c:pt>
                <c:pt idx="44">
                  <c:v>1.3.–7.3.</c:v>
                </c:pt>
                <c:pt idx="45">
                  <c:v>8.3.–14.3.</c:v>
                </c:pt>
                <c:pt idx="46">
                  <c:v>15.3.–21.3.</c:v>
                </c:pt>
                <c:pt idx="47">
                  <c:v>22.3.–28.3.</c:v>
                </c:pt>
                <c:pt idx="48">
                  <c:v>29.3.–4.4.</c:v>
                </c:pt>
                <c:pt idx="49">
                  <c:v>5.4.–11.4.</c:v>
                </c:pt>
                <c:pt idx="50">
                  <c:v>12.4.–18.4.</c:v>
                </c:pt>
                <c:pt idx="51">
                  <c:v>19.4.–25.4.</c:v>
                </c:pt>
                <c:pt idx="52">
                  <c:v>26.4.–2.5.</c:v>
                </c:pt>
                <c:pt idx="53">
                  <c:v>3.5.–9.5.</c:v>
                </c:pt>
                <c:pt idx="54">
                  <c:v>10.5.–16.5.</c:v>
                </c:pt>
                <c:pt idx="55">
                  <c:v>17.5.–23.5.</c:v>
                </c:pt>
                <c:pt idx="56">
                  <c:v>24.5.–30.5.</c:v>
                </c:pt>
                <c:pt idx="57">
                  <c:v>31.5.–6.6.</c:v>
                </c:pt>
                <c:pt idx="58">
                  <c:v>7.6.–13.6.</c:v>
                </c:pt>
                <c:pt idx="59">
                  <c:v>14.6.–20.6.</c:v>
                </c:pt>
                <c:pt idx="60">
                  <c:v>21.6.–27.6.</c:v>
                </c:pt>
                <c:pt idx="61">
                  <c:v>28.6.–4.7.</c:v>
                </c:pt>
                <c:pt idx="62">
                  <c:v>5.7.–11.7.</c:v>
                </c:pt>
                <c:pt idx="63">
                  <c:v>12.7.–18.7.</c:v>
                </c:pt>
                <c:pt idx="64">
                  <c:v>19.7.–25.7.</c:v>
                </c:pt>
                <c:pt idx="65">
                  <c:v>26.7.–1.8.</c:v>
                </c:pt>
                <c:pt idx="66">
                  <c:v>2.8.–8.8.</c:v>
                </c:pt>
                <c:pt idx="67">
                  <c:v>9.8.–15.8.</c:v>
                </c:pt>
                <c:pt idx="68">
                  <c:v>16.8.–22.8.</c:v>
                </c:pt>
                <c:pt idx="69">
                  <c:v>23.8.–29.8.</c:v>
                </c:pt>
                <c:pt idx="70">
                  <c:v>30.8.–5.9.</c:v>
                </c:pt>
                <c:pt idx="71">
                  <c:v>6.9.–12.9.</c:v>
                </c:pt>
                <c:pt idx="72">
                  <c:v>13.9.–19.9.</c:v>
                </c:pt>
                <c:pt idx="73">
                  <c:v>20.9.–26.9.</c:v>
                </c:pt>
                <c:pt idx="74">
                  <c:v>27.9.–3.10.</c:v>
                </c:pt>
                <c:pt idx="75">
                  <c:v>4.10.–10.10.</c:v>
                </c:pt>
                <c:pt idx="76">
                  <c:v>11.10.–17.10.</c:v>
                </c:pt>
                <c:pt idx="77">
                  <c:v>18.10.–24.10.</c:v>
                </c:pt>
                <c:pt idx="78">
                  <c:v>25.10.–31.10.</c:v>
                </c:pt>
                <c:pt idx="79">
                  <c:v>1.11.–7.11.</c:v>
                </c:pt>
                <c:pt idx="80">
                  <c:v>8.11.–14.11.</c:v>
                </c:pt>
                <c:pt idx="81">
                  <c:v>15.11.–21.11.</c:v>
                </c:pt>
                <c:pt idx="82">
                  <c:v>22.11.–28.11.</c:v>
                </c:pt>
                <c:pt idx="83">
                  <c:v>29.11.–5.12.</c:v>
                </c:pt>
                <c:pt idx="84">
                  <c:v>6.12.–12.12.</c:v>
                </c:pt>
                <c:pt idx="85">
                  <c:v>13.12.–19.12.</c:v>
                </c:pt>
              </c:strCache>
            </c:strRef>
          </c:cat>
          <c:val>
            <c:numRef>
              <c:f>List1!$B$2:$CI$2</c:f>
              <c:numCache>
                <c:formatCode>General</c:formatCode>
                <c:ptCount val="86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  <c:pt idx="5">
                  <c:v>35</c:v>
                </c:pt>
                <c:pt idx="6">
                  <c:v>0</c:v>
                </c:pt>
                <c:pt idx="7">
                  <c:v>45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110</c:v>
                </c:pt>
                <c:pt idx="13">
                  <c:v>1</c:v>
                </c:pt>
                <c:pt idx="14">
                  <c:v>86</c:v>
                </c:pt>
                <c:pt idx="15">
                  <c:v>40</c:v>
                </c:pt>
                <c:pt idx="16">
                  <c:v>44</c:v>
                </c:pt>
                <c:pt idx="17">
                  <c:v>1</c:v>
                </c:pt>
                <c:pt idx="18">
                  <c:v>196</c:v>
                </c:pt>
                <c:pt idx="19">
                  <c:v>138</c:v>
                </c:pt>
                <c:pt idx="20">
                  <c:v>100</c:v>
                </c:pt>
                <c:pt idx="21">
                  <c:v>627</c:v>
                </c:pt>
                <c:pt idx="22">
                  <c:v>290</c:v>
                </c:pt>
                <c:pt idx="23">
                  <c:v>1325</c:v>
                </c:pt>
                <c:pt idx="24">
                  <c:v>3258</c:v>
                </c:pt>
                <c:pt idx="25">
                  <c:v>2610</c:v>
                </c:pt>
                <c:pt idx="26">
                  <c:v>2702</c:v>
                </c:pt>
                <c:pt idx="27">
                  <c:v>2109</c:v>
                </c:pt>
                <c:pt idx="28">
                  <c:v>3034</c:v>
                </c:pt>
                <c:pt idx="29">
                  <c:v>2017</c:v>
                </c:pt>
                <c:pt idx="30">
                  <c:v>788</c:v>
                </c:pt>
                <c:pt idx="31">
                  <c:v>772</c:v>
                </c:pt>
                <c:pt idx="32">
                  <c:v>1444</c:v>
                </c:pt>
                <c:pt idx="33">
                  <c:v>992</c:v>
                </c:pt>
                <c:pt idx="34">
                  <c:v>582</c:v>
                </c:pt>
                <c:pt idx="35">
                  <c:v>943</c:v>
                </c:pt>
                <c:pt idx="36">
                  <c:v>1069</c:v>
                </c:pt>
                <c:pt idx="37">
                  <c:v>910</c:v>
                </c:pt>
                <c:pt idx="38">
                  <c:v>885</c:v>
                </c:pt>
                <c:pt idx="39">
                  <c:v>409</c:v>
                </c:pt>
                <c:pt idx="40">
                  <c:v>650</c:v>
                </c:pt>
                <c:pt idx="41">
                  <c:v>590</c:v>
                </c:pt>
                <c:pt idx="42">
                  <c:v>204</c:v>
                </c:pt>
                <c:pt idx="43">
                  <c:v>356</c:v>
                </c:pt>
                <c:pt idx="44">
                  <c:v>143</c:v>
                </c:pt>
                <c:pt idx="45">
                  <c:v>223</c:v>
                </c:pt>
                <c:pt idx="46">
                  <c:v>295</c:v>
                </c:pt>
                <c:pt idx="47">
                  <c:v>192</c:v>
                </c:pt>
                <c:pt idx="48">
                  <c:v>115</c:v>
                </c:pt>
                <c:pt idx="49">
                  <c:v>72</c:v>
                </c:pt>
                <c:pt idx="50">
                  <c:v>32</c:v>
                </c:pt>
                <c:pt idx="51">
                  <c:v>16</c:v>
                </c:pt>
                <c:pt idx="52">
                  <c:v>15</c:v>
                </c:pt>
                <c:pt idx="53">
                  <c:v>0</c:v>
                </c:pt>
                <c:pt idx="54">
                  <c:v>14</c:v>
                </c:pt>
                <c:pt idx="55">
                  <c:v>9</c:v>
                </c:pt>
                <c:pt idx="56">
                  <c:v>0</c:v>
                </c:pt>
                <c:pt idx="57">
                  <c:v>3</c:v>
                </c:pt>
                <c:pt idx="58">
                  <c:v>4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3</c:v>
                </c:pt>
                <c:pt idx="64">
                  <c:v>5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10</c:v>
                </c:pt>
                <c:pt idx="69">
                  <c:v>0</c:v>
                </c:pt>
                <c:pt idx="70">
                  <c:v>28</c:v>
                </c:pt>
                <c:pt idx="71">
                  <c:v>0</c:v>
                </c:pt>
                <c:pt idx="72">
                  <c:v>6</c:v>
                </c:pt>
                <c:pt idx="73">
                  <c:v>14</c:v>
                </c:pt>
                <c:pt idx="74">
                  <c:v>46</c:v>
                </c:pt>
                <c:pt idx="75">
                  <c:v>30</c:v>
                </c:pt>
                <c:pt idx="76">
                  <c:v>58</c:v>
                </c:pt>
                <c:pt idx="77">
                  <c:v>28</c:v>
                </c:pt>
                <c:pt idx="78">
                  <c:v>64</c:v>
                </c:pt>
                <c:pt idx="79">
                  <c:v>330</c:v>
                </c:pt>
                <c:pt idx="80">
                  <c:v>89</c:v>
                </c:pt>
                <c:pt idx="81">
                  <c:v>114</c:v>
                </c:pt>
                <c:pt idx="82">
                  <c:v>118</c:v>
                </c:pt>
                <c:pt idx="83">
                  <c:v>104</c:v>
                </c:pt>
                <c:pt idx="84">
                  <c:v>232</c:v>
                </c:pt>
                <c:pt idx="85">
                  <c:v>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D31145"/>
            </a:solidFill>
          </c:spPr>
          <c:dPt>
            <c:idx val="0"/>
            <c:bubble3D val="0"/>
            <c:spPr>
              <a:solidFill>
                <a:srgbClr val="D3114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92-4D3D-8334-193589D5135D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92-4D3D-8334-193589D5135D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F92-4D3D-8334-193589D5135D}"/>
                </c:ext>
              </c:extLst>
            </c:dLbl>
            <c:dLbl>
              <c:idx val="1"/>
              <c:layout>
                <c:manualLayout>
                  <c:x val="2.6849345794777161E-2"/>
                  <c:y val="4.316461646342099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F92-4D3D-8334-193589D513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85973610883461726</c:v>
                </c:pt>
                <c:pt idx="1">
                  <c:v>0.140263891165382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92-4D3D-8334-193589D5135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89-4EC5-9106-44D5B8B3D789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89-4EC5-9106-44D5B8B3D789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C89-4EC5-9106-44D5B8B3D789}"/>
                </c:ext>
              </c:extLst>
            </c:dLbl>
            <c:dLbl>
              <c:idx val="1"/>
              <c:layout>
                <c:manualLayout>
                  <c:x val="1.7357158033531071E-2"/>
                  <c:y val="4.561912679680030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C89-4EC5-9106-44D5B8B3D7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91800000000000004</c:v>
                </c:pt>
                <c:pt idx="1">
                  <c:v>8.2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89-4EC5-9106-44D5B8B3D78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umulativní počet pozitivníc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476</c:f>
              <c:numCache>
                <c:formatCode>m/d/yyyy</c:formatCode>
                <c:ptCount val="4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</c:numCache>
            </c:numRef>
          </c:cat>
          <c:val>
            <c:numRef>
              <c:f>List1!$B$2:$B$476</c:f>
              <c:numCache>
                <c:formatCode>General</c:formatCode>
                <c:ptCount val="475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11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2</c:v>
                </c:pt>
                <c:pt idx="17">
                  <c:v>14</c:v>
                </c:pt>
                <c:pt idx="18">
                  <c:v>15</c:v>
                </c:pt>
                <c:pt idx="19">
                  <c:v>18</c:v>
                </c:pt>
                <c:pt idx="20">
                  <c:v>19</c:v>
                </c:pt>
                <c:pt idx="21">
                  <c:v>19</c:v>
                </c:pt>
                <c:pt idx="22">
                  <c:v>20</c:v>
                </c:pt>
                <c:pt idx="23">
                  <c:v>23</c:v>
                </c:pt>
                <c:pt idx="24">
                  <c:v>24</c:v>
                </c:pt>
                <c:pt idx="25">
                  <c:v>29</c:v>
                </c:pt>
                <c:pt idx="26">
                  <c:v>34</c:v>
                </c:pt>
                <c:pt idx="27">
                  <c:v>37</c:v>
                </c:pt>
                <c:pt idx="28">
                  <c:v>42</c:v>
                </c:pt>
                <c:pt idx="29">
                  <c:v>70</c:v>
                </c:pt>
                <c:pt idx="30">
                  <c:v>101</c:v>
                </c:pt>
                <c:pt idx="31">
                  <c:v>163</c:v>
                </c:pt>
                <c:pt idx="32">
                  <c:v>199</c:v>
                </c:pt>
                <c:pt idx="33">
                  <c:v>253</c:v>
                </c:pt>
                <c:pt idx="34">
                  <c:v>420</c:v>
                </c:pt>
                <c:pt idx="35">
                  <c:v>502</c:v>
                </c:pt>
                <c:pt idx="36">
                  <c:v>547</c:v>
                </c:pt>
                <c:pt idx="37">
                  <c:v>625</c:v>
                </c:pt>
                <c:pt idx="38">
                  <c:v>764</c:v>
                </c:pt>
                <c:pt idx="39">
                  <c:v>794</c:v>
                </c:pt>
                <c:pt idx="40">
                  <c:v>805</c:v>
                </c:pt>
                <c:pt idx="41">
                  <c:v>943</c:v>
                </c:pt>
                <c:pt idx="42">
                  <c:v>1165</c:v>
                </c:pt>
                <c:pt idx="43">
                  <c:v>1346</c:v>
                </c:pt>
                <c:pt idx="44">
                  <c:v>1539</c:v>
                </c:pt>
                <c:pt idx="45">
                  <c:v>1744</c:v>
                </c:pt>
                <c:pt idx="46">
                  <c:v>1899</c:v>
                </c:pt>
                <c:pt idx="47">
                  <c:v>1940</c:v>
                </c:pt>
                <c:pt idx="48">
                  <c:v>2182</c:v>
                </c:pt>
                <c:pt idx="49">
                  <c:v>2382</c:v>
                </c:pt>
                <c:pt idx="50">
                  <c:v>2708</c:v>
                </c:pt>
                <c:pt idx="51">
                  <c:v>2936</c:v>
                </c:pt>
                <c:pt idx="52">
                  <c:v>3351</c:v>
                </c:pt>
                <c:pt idx="53">
                  <c:v>3578</c:v>
                </c:pt>
                <c:pt idx="54">
                  <c:v>3773</c:v>
                </c:pt>
                <c:pt idx="55">
                  <c:v>4160</c:v>
                </c:pt>
                <c:pt idx="56">
                  <c:v>4682</c:v>
                </c:pt>
                <c:pt idx="57">
                  <c:v>4942</c:v>
                </c:pt>
                <c:pt idx="58">
                  <c:v>5480</c:v>
                </c:pt>
                <c:pt idx="59">
                  <c:v>6067</c:v>
                </c:pt>
                <c:pt idx="60">
                  <c:v>6404</c:v>
                </c:pt>
                <c:pt idx="61">
                  <c:v>6616</c:v>
                </c:pt>
                <c:pt idx="62">
                  <c:v>6947</c:v>
                </c:pt>
                <c:pt idx="63">
                  <c:v>7279</c:v>
                </c:pt>
                <c:pt idx="64">
                  <c:v>7703</c:v>
                </c:pt>
                <c:pt idx="65">
                  <c:v>8236</c:v>
                </c:pt>
                <c:pt idx="66">
                  <c:v>8724</c:v>
                </c:pt>
                <c:pt idx="67">
                  <c:v>8938</c:v>
                </c:pt>
                <c:pt idx="68">
                  <c:v>9016</c:v>
                </c:pt>
                <c:pt idx="69">
                  <c:v>9220</c:v>
                </c:pt>
                <c:pt idx="70">
                  <c:v>9605</c:v>
                </c:pt>
                <c:pt idx="71">
                  <c:v>10282</c:v>
                </c:pt>
                <c:pt idx="72">
                  <c:v>10780</c:v>
                </c:pt>
                <c:pt idx="73">
                  <c:v>11261</c:v>
                </c:pt>
                <c:pt idx="74">
                  <c:v>11440</c:v>
                </c:pt>
                <c:pt idx="75">
                  <c:v>11604</c:v>
                </c:pt>
                <c:pt idx="76">
                  <c:v>11986</c:v>
                </c:pt>
                <c:pt idx="77">
                  <c:v>12124</c:v>
                </c:pt>
                <c:pt idx="78">
                  <c:v>12390</c:v>
                </c:pt>
                <c:pt idx="79">
                  <c:v>12659</c:v>
                </c:pt>
                <c:pt idx="80">
                  <c:v>12897</c:v>
                </c:pt>
                <c:pt idx="81">
                  <c:v>12991</c:v>
                </c:pt>
                <c:pt idx="82">
                  <c:v>13082</c:v>
                </c:pt>
                <c:pt idx="83">
                  <c:v>13460</c:v>
                </c:pt>
                <c:pt idx="84">
                  <c:v>13658</c:v>
                </c:pt>
                <c:pt idx="85">
                  <c:v>13782</c:v>
                </c:pt>
                <c:pt idx="86">
                  <c:v>13976</c:v>
                </c:pt>
                <c:pt idx="87">
                  <c:v>14115</c:v>
                </c:pt>
                <c:pt idx="88">
                  <c:v>14193</c:v>
                </c:pt>
                <c:pt idx="89">
                  <c:v>14221</c:v>
                </c:pt>
                <c:pt idx="90">
                  <c:v>14434</c:v>
                </c:pt>
                <c:pt idx="91">
                  <c:v>14557</c:v>
                </c:pt>
                <c:pt idx="92">
                  <c:v>14689</c:v>
                </c:pt>
                <c:pt idx="93">
                  <c:v>14817</c:v>
                </c:pt>
                <c:pt idx="94">
                  <c:v>14959</c:v>
                </c:pt>
                <c:pt idx="95">
                  <c:v>15047</c:v>
                </c:pt>
                <c:pt idx="96">
                  <c:v>15067</c:v>
                </c:pt>
                <c:pt idx="97">
                  <c:v>15209</c:v>
                </c:pt>
                <c:pt idx="98">
                  <c:v>15298</c:v>
                </c:pt>
                <c:pt idx="99">
                  <c:v>15439</c:v>
                </c:pt>
                <c:pt idx="100">
                  <c:v>15522</c:v>
                </c:pt>
                <c:pt idx="101">
                  <c:v>15752</c:v>
                </c:pt>
                <c:pt idx="102">
                  <c:v>15819</c:v>
                </c:pt>
                <c:pt idx="103">
                  <c:v>15868</c:v>
                </c:pt>
                <c:pt idx="104">
                  <c:v>16016</c:v>
                </c:pt>
                <c:pt idx="105">
                  <c:v>16149</c:v>
                </c:pt>
                <c:pt idx="106">
                  <c:v>16249</c:v>
                </c:pt>
                <c:pt idx="107">
                  <c:v>16317</c:v>
                </c:pt>
                <c:pt idx="108">
                  <c:v>16539</c:v>
                </c:pt>
                <c:pt idx="109">
                  <c:v>16600</c:v>
                </c:pt>
                <c:pt idx="110">
                  <c:v>16621</c:v>
                </c:pt>
                <c:pt idx="111">
                  <c:v>16799</c:v>
                </c:pt>
                <c:pt idx="112">
                  <c:v>16975</c:v>
                </c:pt>
                <c:pt idx="113">
                  <c:v>17097</c:v>
                </c:pt>
                <c:pt idx="114">
                  <c:v>17115</c:v>
                </c:pt>
                <c:pt idx="115">
                  <c:v>17186</c:v>
                </c:pt>
                <c:pt idx="116">
                  <c:v>17264</c:v>
                </c:pt>
                <c:pt idx="117">
                  <c:v>17362</c:v>
                </c:pt>
                <c:pt idx="118">
                  <c:v>17527</c:v>
                </c:pt>
                <c:pt idx="119">
                  <c:v>17712</c:v>
                </c:pt>
                <c:pt idx="120">
                  <c:v>17856</c:v>
                </c:pt>
                <c:pt idx="121">
                  <c:v>17989</c:v>
                </c:pt>
                <c:pt idx="122">
                  <c:v>18054</c:v>
                </c:pt>
                <c:pt idx="123">
                  <c:v>18113</c:v>
                </c:pt>
                <c:pt idx="124">
                  <c:v>18154</c:v>
                </c:pt>
                <c:pt idx="125">
                  <c:v>18423</c:v>
                </c:pt>
                <c:pt idx="126">
                  <c:v>18575</c:v>
                </c:pt>
                <c:pt idx="127">
                  <c:v>18735</c:v>
                </c:pt>
                <c:pt idx="128">
                  <c:v>18967</c:v>
                </c:pt>
                <c:pt idx="129">
                  <c:v>19152</c:v>
                </c:pt>
                <c:pt idx="130">
                  <c:v>19213</c:v>
                </c:pt>
                <c:pt idx="131">
                  <c:v>19243</c:v>
                </c:pt>
                <c:pt idx="132">
                  <c:v>19481</c:v>
                </c:pt>
                <c:pt idx="133">
                  <c:v>19607</c:v>
                </c:pt>
                <c:pt idx="134">
                  <c:v>19781</c:v>
                </c:pt>
                <c:pt idx="135">
                  <c:v>19878</c:v>
                </c:pt>
                <c:pt idx="136">
                  <c:v>19964</c:v>
                </c:pt>
                <c:pt idx="137">
                  <c:v>19999</c:v>
                </c:pt>
                <c:pt idx="138">
                  <c:v>20044</c:v>
                </c:pt>
                <c:pt idx="139">
                  <c:v>20205</c:v>
                </c:pt>
                <c:pt idx="140">
                  <c:v>20284</c:v>
                </c:pt>
                <c:pt idx="141">
                  <c:v>20430</c:v>
                </c:pt>
                <c:pt idx="142">
                  <c:v>20536</c:v>
                </c:pt>
                <c:pt idx="143">
                  <c:v>20650</c:v>
                </c:pt>
                <c:pt idx="144">
                  <c:v>20703</c:v>
                </c:pt>
                <c:pt idx="145">
                  <c:v>20728</c:v>
                </c:pt>
                <c:pt idx="146">
                  <c:v>20812</c:v>
                </c:pt>
                <c:pt idx="147">
                  <c:v>20853</c:v>
                </c:pt>
                <c:pt idx="148">
                  <c:v>20948</c:v>
                </c:pt>
                <c:pt idx="149">
                  <c:v>21014</c:v>
                </c:pt>
                <c:pt idx="150">
                  <c:v>21051</c:v>
                </c:pt>
                <c:pt idx="151">
                  <c:v>21100</c:v>
                </c:pt>
                <c:pt idx="152">
                  <c:v>21109</c:v>
                </c:pt>
                <c:pt idx="153">
                  <c:v>21214</c:v>
                </c:pt>
                <c:pt idx="154">
                  <c:v>21308</c:v>
                </c:pt>
                <c:pt idx="155">
                  <c:v>21410</c:v>
                </c:pt>
                <c:pt idx="156">
                  <c:v>21492</c:v>
                </c:pt>
                <c:pt idx="157">
                  <c:v>21576</c:v>
                </c:pt>
                <c:pt idx="158">
                  <c:v>21618</c:v>
                </c:pt>
                <c:pt idx="159">
                  <c:v>21634</c:v>
                </c:pt>
                <c:pt idx="160">
                  <c:v>21699</c:v>
                </c:pt>
                <c:pt idx="161">
                  <c:v>21765</c:v>
                </c:pt>
                <c:pt idx="162">
                  <c:v>21832</c:v>
                </c:pt>
                <c:pt idx="163">
                  <c:v>21897</c:v>
                </c:pt>
                <c:pt idx="164">
                  <c:v>21949</c:v>
                </c:pt>
                <c:pt idx="165">
                  <c:v>21957</c:v>
                </c:pt>
                <c:pt idx="166">
                  <c:v>21970</c:v>
                </c:pt>
                <c:pt idx="167">
                  <c:v>22007</c:v>
                </c:pt>
                <c:pt idx="168">
                  <c:v>22024</c:v>
                </c:pt>
                <c:pt idx="169">
                  <c:v>22054</c:v>
                </c:pt>
                <c:pt idx="170">
                  <c:v>22081</c:v>
                </c:pt>
                <c:pt idx="171">
                  <c:v>22108</c:v>
                </c:pt>
                <c:pt idx="172">
                  <c:v>22126</c:v>
                </c:pt>
                <c:pt idx="173">
                  <c:v>22131</c:v>
                </c:pt>
                <c:pt idx="174">
                  <c:v>22220</c:v>
                </c:pt>
                <c:pt idx="175">
                  <c:v>22255</c:v>
                </c:pt>
                <c:pt idx="176">
                  <c:v>22289</c:v>
                </c:pt>
                <c:pt idx="177">
                  <c:v>22335</c:v>
                </c:pt>
                <c:pt idx="178">
                  <c:v>22381</c:v>
                </c:pt>
                <c:pt idx="179">
                  <c:v>22390</c:v>
                </c:pt>
                <c:pt idx="180">
                  <c:v>22393</c:v>
                </c:pt>
                <c:pt idx="181">
                  <c:v>22471</c:v>
                </c:pt>
                <c:pt idx="182">
                  <c:v>22499</c:v>
                </c:pt>
                <c:pt idx="183">
                  <c:v>22545</c:v>
                </c:pt>
                <c:pt idx="184">
                  <c:v>22554</c:v>
                </c:pt>
                <c:pt idx="185">
                  <c:v>22577</c:v>
                </c:pt>
                <c:pt idx="186">
                  <c:v>22582</c:v>
                </c:pt>
                <c:pt idx="187">
                  <c:v>22587</c:v>
                </c:pt>
                <c:pt idx="188">
                  <c:v>22614</c:v>
                </c:pt>
                <c:pt idx="189">
                  <c:v>22691</c:v>
                </c:pt>
                <c:pt idx="190">
                  <c:v>22746</c:v>
                </c:pt>
                <c:pt idx="191">
                  <c:v>22758</c:v>
                </c:pt>
                <c:pt idx="192">
                  <c:v>22783</c:v>
                </c:pt>
                <c:pt idx="193">
                  <c:v>22792</c:v>
                </c:pt>
                <c:pt idx="194">
                  <c:v>22798</c:v>
                </c:pt>
                <c:pt idx="195">
                  <c:v>22824</c:v>
                </c:pt>
                <c:pt idx="196">
                  <c:v>22844</c:v>
                </c:pt>
                <c:pt idx="197">
                  <c:v>22851</c:v>
                </c:pt>
                <c:pt idx="198">
                  <c:v>22888</c:v>
                </c:pt>
                <c:pt idx="199">
                  <c:v>22906</c:v>
                </c:pt>
                <c:pt idx="200">
                  <c:v>22915</c:v>
                </c:pt>
                <c:pt idx="201">
                  <c:v>22919</c:v>
                </c:pt>
                <c:pt idx="202">
                  <c:v>22933</c:v>
                </c:pt>
                <c:pt idx="203">
                  <c:v>22961</c:v>
                </c:pt>
                <c:pt idx="204">
                  <c:v>22980</c:v>
                </c:pt>
                <c:pt idx="205">
                  <c:v>23011</c:v>
                </c:pt>
                <c:pt idx="206">
                  <c:v>23017</c:v>
                </c:pt>
                <c:pt idx="207">
                  <c:v>23020</c:v>
                </c:pt>
                <c:pt idx="208">
                  <c:v>23024</c:v>
                </c:pt>
                <c:pt idx="209">
                  <c:v>23045</c:v>
                </c:pt>
                <c:pt idx="210">
                  <c:v>23055</c:v>
                </c:pt>
                <c:pt idx="211">
                  <c:v>23064</c:v>
                </c:pt>
                <c:pt idx="212">
                  <c:v>23073</c:v>
                </c:pt>
                <c:pt idx="213">
                  <c:v>23076</c:v>
                </c:pt>
                <c:pt idx="214">
                  <c:v>23079</c:v>
                </c:pt>
                <c:pt idx="215">
                  <c:v>23081</c:v>
                </c:pt>
                <c:pt idx="216">
                  <c:v>23082</c:v>
                </c:pt>
                <c:pt idx="217">
                  <c:v>23087</c:v>
                </c:pt>
                <c:pt idx="218">
                  <c:v>23105</c:v>
                </c:pt>
                <c:pt idx="219">
                  <c:v>23106</c:v>
                </c:pt>
                <c:pt idx="220">
                  <c:v>23109</c:v>
                </c:pt>
                <c:pt idx="221">
                  <c:v>23110</c:v>
                </c:pt>
                <c:pt idx="222">
                  <c:v>23110</c:v>
                </c:pt>
                <c:pt idx="223">
                  <c:v>23111</c:v>
                </c:pt>
                <c:pt idx="224">
                  <c:v>23113</c:v>
                </c:pt>
                <c:pt idx="225">
                  <c:v>23114</c:v>
                </c:pt>
                <c:pt idx="226">
                  <c:v>23117</c:v>
                </c:pt>
                <c:pt idx="227">
                  <c:v>23118</c:v>
                </c:pt>
                <c:pt idx="228">
                  <c:v>23119</c:v>
                </c:pt>
                <c:pt idx="229">
                  <c:v>23120</c:v>
                </c:pt>
                <c:pt idx="230">
                  <c:v>23125</c:v>
                </c:pt>
                <c:pt idx="231">
                  <c:v>23129</c:v>
                </c:pt>
                <c:pt idx="232">
                  <c:v>23132</c:v>
                </c:pt>
                <c:pt idx="233">
                  <c:v>23141</c:v>
                </c:pt>
                <c:pt idx="234">
                  <c:v>23145</c:v>
                </c:pt>
                <c:pt idx="235">
                  <c:v>23146</c:v>
                </c:pt>
                <c:pt idx="236">
                  <c:v>23146</c:v>
                </c:pt>
                <c:pt idx="237">
                  <c:v>23147</c:v>
                </c:pt>
                <c:pt idx="238">
                  <c:v>23150</c:v>
                </c:pt>
                <c:pt idx="239">
                  <c:v>23151</c:v>
                </c:pt>
                <c:pt idx="240">
                  <c:v>23153</c:v>
                </c:pt>
                <c:pt idx="241">
                  <c:v>23154</c:v>
                </c:pt>
                <c:pt idx="242">
                  <c:v>23154</c:v>
                </c:pt>
                <c:pt idx="243">
                  <c:v>23154</c:v>
                </c:pt>
                <c:pt idx="244">
                  <c:v>23154</c:v>
                </c:pt>
                <c:pt idx="245">
                  <c:v>23154</c:v>
                </c:pt>
                <c:pt idx="246">
                  <c:v>23156</c:v>
                </c:pt>
                <c:pt idx="247">
                  <c:v>23156</c:v>
                </c:pt>
                <c:pt idx="248">
                  <c:v>23157</c:v>
                </c:pt>
                <c:pt idx="249">
                  <c:v>23157</c:v>
                </c:pt>
                <c:pt idx="250">
                  <c:v>23160</c:v>
                </c:pt>
                <c:pt idx="251">
                  <c:v>23165</c:v>
                </c:pt>
                <c:pt idx="252">
                  <c:v>23167</c:v>
                </c:pt>
                <c:pt idx="253">
                  <c:v>23167</c:v>
                </c:pt>
                <c:pt idx="254">
                  <c:v>23169</c:v>
                </c:pt>
                <c:pt idx="255">
                  <c:v>23172</c:v>
                </c:pt>
                <c:pt idx="256">
                  <c:v>23173</c:v>
                </c:pt>
                <c:pt idx="257">
                  <c:v>23173</c:v>
                </c:pt>
                <c:pt idx="258">
                  <c:v>23176</c:v>
                </c:pt>
                <c:pt idx="259">
                  <c:v>23176</c:v>
                </c:pt>
                <c:pt idx="260">
                  <c:v>23178</c:v>
                </c:pt>
                <c:pt idx="261">
                  <c:v>23178</c:v>
                </c:pt>
                <c:pt idx="262">
                  <c:v>23178</c:v>
                </c:pt>
                <c:pt idx="263">
                  <c:v>23178</c:v>
                </c:pt>
                <c:pt idx="264">
                  <c:v>23178</c:v>
                </c:pt>
                <c:pt idx="265">
                  <c:v>23180</c:v>
                </c:pt>
                <c:pt idx="266">
                  <c:v>23180</c:v>
                </c:pt>
                <c:pt idx="267">
                  <c:v>23180</c:v>
                </c:pt>
                <c:pt idx="268">
                  <c:v>23180</c:v>
                </c:pt>
                <c:pt idx="269">
                  <c:v>23180</c:v>
                </c:pt>
                <c:pt idx="270">
                  <c:v>23180</c:v>
                </c:pt>
                <c:pt idx="271">
                  <c:v>23180</c:v>
                </c:pt>
                <c:pt idx="272">
                  <c:v>23180</c:v>
                </c:pt>
                <c:pt idx="273">
                  <c:v>23180</c:v>
                </c:pt>
                <c:pt idx="274">
                  <c:v>23183</c:v>
                </c:pt>
                <c:pt idx="275">
                  <c:v>23184</c:v>
                </c:pt>
                <c:pt idx="276">
                  <c:v>23184</c:v>
                </c:pt>
                <c:pt idx="277">
                  <c:v>23184</c:v>
                </c:pt>
                <c:pt idx="278">
                  <c:v>23184</c:v>
                </c:pt>
                <c:pt idx="279">
                  <c:v>23184</c:v>
                </c:pt>
                <c:pt idx="280">
                  <c:v>23184</c:v>
                </c:pt>
                <c:pt idx="281">
                  <c:v>23184</c:v>
                </c:pt>
                <c:pt idx="282">
                  <c:v>23184</c:v>
                </c:pt>
                <c:pt idx="283">
                  <c:v>23185</c:v>
                </c:pt>
                <c:pt idx="284">
                  <c:v>23185</c:v>
                </c:pt>
                <c:pt idx="285">
                  <c:v>23185</c:v>
                </c:pt>
                <c:pt idx="286">
                  <c:v>23185</c:v>
                </c:pt>
                <c:pt idx="287">
                  <c:v>23185</c:v>
                </c:pt>
                <c:pt idx="288">
                  <c:v>23185</c:v>
                </c:pt>
                <c:pt idx="289">
                  <c:v>23186</c:v>
                </c:pt>
                <c:pt idx="290">
                  <c:v>23186</c:v>
                </c:pt>
                <c:pt idx="291">
                  <c:v>23186</c:v>
                </c:pt>
                <c:pt idx="292">
                  <c:v>23186</c:v>
                </c:pt>
                <c:pt idx="293">
                  <c:v>23186</c:v>
                </c:pt>
                <c:pt idx="294">
                  <c:v>23186</c:v>
                </c:pt>
                <c:pt idx="295">
                  <c:v>23187</c:v>
                </c:pt>
                <c:pt idx="296">
                  <c:v>23188</c:v>
                </c:pt>
                <c:pt idx="297">
                  <c:v>23188</c:v>
                </c:pt>
                <c:pt idx="298">
                  <c:v>23188</c:v>
                </c:pt>
                <c:pt idx="299">
                  <c:v>23188</c:v>
                </c:pt>
                <c:pt idx="300">
                  <c:v>23188</c:v>
                </c:pt>
                <c:pt idx="301">
                  <c:v>23188</c:v>
                </c:pt>
                <c:pt idx="302">
                  <c:v>23188</c:v>
                </c:pt>
                <c:pt idx="303">
                  <c:v>23189</c:v>
                </c:pt>
                <c:pt idx="304">
                  <c:v>23189</c:v>
                </c:pt>
                <c:pt idx="305">
                  <c:v>23189</c:v>
                </c:pt>
                <c:pt idx="306">
                  <c:v>23190</c:v>
                </c:pt>
                <c:pt idx="307">
                  <c:v>23190</c:v>
                </c:pt>
                <c:pt idx="308">
                  <c:v>23190</c:v>
                </c:pt>
                <c:pt idx="309">
                  <c:v>23190</c:v>
                </c:pt>
                <c:pt idx="310">
                  <c:v>23191</c:v>
                </c:pt>
                <c:pt idx="311">
                  <c:v>23191</c:v>
                </c:pt>
                <c:pt idx="312">
                  <c:v>23191</c:v>
                </c:pt>
                <c:pt idx="313">
                  <c:v>23191</c:v>
                </c:pt>
                <c:pt idx="314">
                  <c:v>23191</c:v>
                </c:pt>
                <c:pt idx="315">
                  <c:v>23191</c:v>
                </c:pt>
                <c:pt idx="316">
                  <c:v>23191</c:v>
                </c:pt>
                <c:pt idx="317">
                  <c:v>23191</c:v>
                </c:pt>
                <c:pt idx="318">
                  <c:v>23191</c:v>
                </c:pt>
                <c:pt idx="319">
                  <c:v>23191</c:v>
                </c:pt>
                <c:pt idx="320">
                  <c:v>23191</c:v>
                </c:pt>
                <c:pt idx="321">
                  <c:v>23191</c:v>
                </c:pt>
                <c:pt idx="322">
                  <c:v>23191</c:v>
                </c:pt>
                <c:pt idx="323">
                  <c:v>23191</c:v>
                </c:pt>
                <c:pt idx="324">
                  <c:v>23191</c:v>
                </c:pt>
                <c:pt idx="325">
                  <c:v>23191</c:v>
                </c:pt>
                <c:pt idx="326">
                  <c:v>23192</c:v>
                </c:pt>
                <c:pt idx="327">
                  <c:v>23192</c:v>
                </c:pt>
                <c:pt idx="328">
                  <c:v>23192</c:v>
                </c:pt>
                <c:pt idx="329">
                  <c:v>23192</c:v>
                </c:pt>
                <c:pt idx="330">
                  <c:v>23192</c:v>
                </c:pt>
                <c:pt idx="331">
                  <c:v>23192</c:v>
                </c:pt>
                <c:pt idx="332">
                  <c:v>23192</c:v>
                </c:pt>
                <c:pt idx="333">
                  <c:v>23192</c:v>
                </c:pt>
                <c:pt idx="334">
                  <c:v>23192</c:v>
                </c:pt>
                <c:pt idx="335">
                  <c:v>23192</c:v>
                </c:pt>
                <c:pt idx="336">
                  <c:v>23192</c:v>
                </c:pt>
                <c:pt idx="337">
                  <c:v>23192</c:v>
                </c:pt>
                <c:pt idx="338">
                  <c:v>23192</c:v>
                </c:pt>
                <c:pt idx="339">
                  <c:v>23192</c:v>
                </c:pt>
                <c:pt idx="340">
                  <c:v>23192</c:v>
                </c:pt>
                <c:pt idx="341">
                  <c:v>23192</c:v>
                </c:pt>
                <c:pt idx="342">
                  <c:v>23192</c:v>
                </c:pt>
                <c:pt idx="343">
                  <c:v>23192</c:v>
                </c:pt>
                <c:pt idx="344">
                  <c:v>23192</c:v>
                </c:pt>
                <c:pt idx="345">
                  <c:v>23192</c:v>
                </c:pt>
                <c:pt idx="346">
                  <c:v>23192</c:v>
                </c:pt>
                <c:pt idx="347">
                  <c:v>23192</c:v>
                </c:pt>
                <c:pt idx="348">
                  <c:v>23192</c:v>
                </c:pt>
                <c:pt idx="349">
                  <c:v>23193</c:v>
                </c:pt>
                <c:pt idx="350">
                  <c:v>23194</c:v>
                </c:pt>
                <c:pt idx="351">
                  <c:v>23194</c:v>
                </c:pt>
                <c:pt idx="352">
                  <c:v>23195</c:v>
                </c:pt>
                <c:pt idx="353">
                  <c:v>23195</c:v>
                </c:pt>
                <c:pt idx="354">
                  <c:v>23195</c:v>
                </c:pt>
                <c:pt idx="355">
                  <c:v>23195</c:v>
                </c:pt>
                <c:pt idx="356">
                  <c:v>23197</c:v>
                </c:pt>
                <c:pt idx="357">
                  <c:v>23197</c:v>
                </c:pt>
                <c:pt idx="358">
                  <c:v>23197</c:v>
                </c:pt>
                <c:pt idx="359">
                  <c:v>23197</c:v>
                </c:pt>
                <c:pt idx="360">
                  <c:v>23197</c:v>
                </c:pt>
                <c:pt idx="361">
                  <c:v>23197</c:v>
                </c:pt>
                <c:pt idx="362">
                  <c:v>23197</c:v>
                </c:pt>
                <c:pt idx="363">
                  <c:v>23197</c:v>
                </c:pt>
                <c:pt idx="364">
                  <c:v>23197</c:v>
                </c:pt>
                <c:pt idx="365">
                  <c:v>23198</c:v>
                </c:pt>
                <c:pt idx="366">
                  <c:v>23202</c:v>
                </c:pt>
                <c:pt idx="367">
                  <c:v>23204</c:v>
                </c:pt>
                <c:pt idx="368">
                  <c:v>23205</c:v>
                </c:pt>
                <c:pt idx="369">
                  <c:v>23205</c:v>
                </c:pt>
                <c:pt idx="370">
                  <c:v>23209</c:v>
                </c:pt>
                <c:pt idx="371">
                  <c:v>23209</c:v>
                </c:pt>
                <c:pt idx="372">
                  <c:v>23209</c:v>
                </c:pt>
                <c:pt idx="373">
                  <c:v>23210</c:v>
                </c:pt>
                <c:pt idx="374">
                  <c:v>23210</c:v>
                </c:pt>
                <c:pt idx="375">
                  <c:v>23210</c:v>
                </c:pt>
                <c:pt idx="376">
                  <c:v>23210</c:v>
                </c:pt>
                <c:pt idx="377">
                  <c:v>23211</c:v>
                </c:pt>
                <c:pt idx="378">
                  <c:v>23211</c:v>
                </c:pt>
                <c:pt idx="379">
                  <c:v>23211</c:v>
                </c:pt>
                <c:pt idx="380">
                  <c:v>23211</c:v>
                </c:pt>
                <c:pt idx="381">
                  <c:v>23211</c:v>
                </c:pt>
                <c:pt idx="382">
                  <c:v>23211</c:v>
                </c:pt>
                <c:pt idx="383">
                  <c:v>23211</c:v>
                </c:pt>
                <c:pt idx="384">
                  <c:v>23212</c:v>
                </c:pt>
                <c:pt idx="385">
                  <c:v>23216</c:v>
                </c:pt>
                <c:pt idx="386">
                  <c:v>23217</c:v>
                </c:pt>
                <c:pt idx="387">
                  <c:v>23217</c:v>
                </c:pt>
                <c:pt idx="388">
                  <c:v>23217</c:v>
                </c:pt>
                <c:pt idx="389">
                  <c:v>23217</c:v>
                </c:pt>
                <c:pt idx="390">
                  <c:v>23217</c:v>
                </c:pt>
                <c:pt idx="391">
                  <c:v>23219</c:v>
                </c:pt>
                <c:pt idx="392">
                  <c:v>23219</c:v>
                </c:pt>
                <c:pt idx="393">
                  <c:v>23220</c:v>
                </c:pt>
                <c:pt idx="394">
                  <c:v>23220</c:v>
                </c:pt>
                <c:pt idx="395">
                  <c:v>23221</c:v>
                </c:pt>
                <c:pt idx="396">
                  <c:v>23222</c:v>
                </c:pt>
                <c:pt idx="397">
                  <c:v>23223</c:v>
                </c:pt>
                <c:pt idx="398">
                  <c:v>23225</c:v>
                </c:pt>
                <c:pt idx="399">
                  <c:v>23227</c:v>
                </c:pt>
                <c:pt idx="400">
                  <c:v>23238</c:v>
                </c:pt>
                <c:pt idx="401">
                  <c:v>23240</c:v>
                </c:pt>
                <c:pt idx="402">
                  <c:v>23265</c:v>
                </c:pt>
                <c:pt idx="403">
                  <c:v>23266</c:v>
                </c:pt>
                <c:pt idx="404">
                  <c:v>23266</c:v>
                </c:pt>
                <c:pt idx="405">
                  <c:v>23267</c:v>
                </c:pt>
                <c:pt idx="406">
                  <c:v>23267</c:v>
                </c:pt>
                <c:pt idx="407">
                  <c:v>23287</c:v>
                </c:pt>
                <c:pt idx="408">
                  <c:v>23290</c:v>
                </c:pt>
                <c:pt idx="409">
                  <c:v>23292</c:v>
                </c:pt>
                <c:pt idx="410">
                  <c:v>23292</c:v>
                </c:pt>
                <c:pt idx="411">
                  <c:v>23292</c:v>
                </c:pt>
                <c:pt idx="412">
                  <c:v>23298</c:v>
                </c:pt>
                <c:pt idx="413">
                  <c:v>23302</c:v>
                </c:pt>
                <c:pt idx="414">
                  <c:v>23306</c:v>
                </c:pt>
                <c:pt idx="415">
                  <c:v>23308</c:v>
                </c:pt>
                <c:pt idx="416">
                  <c:v>23313</c:v>
                </c:pt>
                <c:pt idx="417">
                  <c:v>23314</c:v>
                </c:pt>
                <c:pt idx="418">
                  <c:v>23315</c:v>
                </c:pt>
                <c:pt idx="419">
                  <c:v>23329</c:v>
                </c:pt>
                <c:pt idx="420">
                  <c:v>23338</c:v>
                </c:pt>
                <c:pt idx="421">
                  <c:v>23349</c:v>
                </c:pt>
                <c:pt idx="422">
                  <c:v>23349</c:v>
                </c:pt>
                <c:pt idx="423">
                  <c:v>23367</c:v>
                </c:pt>
                <c:pt idx="424">
                  <c:v>23374</c:v>
                </c:pt>
                <c:pt idx="425">
                  <c:v>23385</c:v>
                </c:pt>
                <c:pt idx="426">
                  <c:v>23420</c:v>
                </c:pt>
                <c:pt idx="427">
                  <c:v>23433</c:v>
                </c:pt>
                <c:pt idx="428">
                  <c:v>23449</c:v>
                </c:pt>
                <c:pt idx="429">
                  <c:v>23501</c:v>
                </c:pt>
                <c:pt idx="430">
                  <c:v>23524</c:v>
                </c:pt>
                <c:pt idx="431">
                  <c:v>23530</c:v>
                </c:pt>
                <c:pt idx="432">
                  <c:v>23535</c:v>
                </c:pt>
                <c:pt idx="433">
                  <c:v>23564</c:v>
                </c:pt>
                <c:pt idx="434">
                  <c:v>23593</c:v>
                </c:pt>
                <c:pt idx="435">
                  <c:v>23608</c:v>
                </c:pt>
                <c:pt idx="436">
                  <c:v>23626</c:v>
                </c:pt>
                <c:pt idx="437">
                  <c:v>23643</c:v>
                </c:pt>
                <c:pt idx="438">
                  <c:v>23656</c:v>
                </c:pt>
                <c:pt idx="439">
                  <c:v>23670</c:v>
                </c:pt>
                <c:pt idx="440">
                  <c:v>23713</c:v>
                </c:pt>
                <c:pt idx="441">
                  <c:v>23745</c:v>
                </c:pt>
                <c:pt idx="442">
                  <c:v>23768</c:v>
                </c:pt>
                <c:pt idx="443">
                  <c:v>23823</c:v>
                </c:pt>
                <c:pt idx="444">
                  <c:v>23907</c:v>
                </c:pt>
                <c:pt idx="445">
                  <c:v>23933</c:v>
                </c:pt>
                <c:pt idx="446">
                  <c:v>23942</c:v>
                </c:pt>
                <c:pt idx="447">
                  <c:v>23990</c:v>
                </c:pt>
                <c:pt idx="448">
                  <c:v>24013</c:v>
                </c:pt>
                <c:pt idx="449">
                  <c:v>24054</c:v>
                </c:pt>
                <c:pt idx="450">
                  <c:v>24084</c:v>
                </c:pt>
                <c:pt idx="451">
                  <c:v>24136</c:v>
                </c:pt>
                <c:pt idx="452">
                  <c:v>24139</c:v>
                </c:pt>
                <c:pt idx="453">
                  <c:v>24146</c:v>
                </c:pt>
                <c:pt idx="454">
                  <c:v>24184</c:v>
                </c:pt>
                <c:pt idx="455">
                  <c:v>24194</c:v>
                </c:pt>
                <c:pt idx="456">
                  <c:v>24221</c:v>
                </c:pt>
                <c:pt idx="457">
                  <c:v>24252</c:v>
                </c:pt>
                <c:pt idx="458">
                  <c:v>24268</c:v>
                </c:pt>
                <c:pt idx="459">
                  <c:v>24307</c:v>
                </c:pt>
                <c:pt idx="460">
                  <c:v>24312</c:v>
                </c:pt>
                <c:pt idx="461">
                  <c:v>24336</c:v>
                </c:pt>
                <c:pt idx="462">
                  <c:v>24350</c:v>
                </c:pt>
                <c:pt idx="463">
                  <c:v>24376</c:v>
                </c:pt>
                <c:pt idx="464">
                  <c:v>24407</c:v>
                </c:pt>
                <c:pt idx="465">
                  <c:v>24429</c:v>
                </c:pt>
                <c:pt idx="466">
                  <c:v>24432</c:v>
                </c:pt>
                <c:pt idx="467">
                  <c:v>24433</c:v>
                </c:pt>
                <c:pt idx="468">
                  <c:v>24446</c:v>
                </c:pt>
                <c:pt idx="469">
                  <c:v>24472</c:v>
                </c:pt>
                <c:pt idx="470">
                  <c:v>24483</c:v>
                </c:pt>
                <c:pt idx="471">
                  <c:v>24500</c:v>
                </c:pt>
                <c:pt idx="472">
                  <c:v>24518</c:v>
                </c:pt>
                <c:pt idx="473">
                  <c:v>24518</c:v>
                </c:pt>
                <c:pt idx="474">
                  <c:v>245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C3-4558-95C0-65D81E5CAFC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476</c:f>
              <c:numCache>
                <c:formatCode>m/d/yyyy</c:formatCode>
                <c:ptCount val="4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</c:numCache>
            </c:numRef>
          </c:cat>
          <c:val>
            <c:numRef>
              <c:f>List1!$C$2:$C$476</c:f>
              <c:numCache>
                <c:formatCode>General</c:formatCode>
                <c:ptCount val="47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9</c:v>
                </c:pt>
                <c:pt idx="13">
                  <c:v>12</c:v>
                </c:pt>
                <c:pt idx="14">
                  <c:v>13</c:v>
                </c:pt>
                <c:pt idx="15">
                  <c:v>15</c:v>
                </c:pt>
                <c:pt idx="16">
                  <c:v>17</c:v>
                </c:pt>
                <c:pt idx="17">
                  <c:v>19</c:v>
                </c:pt>
                <c:pt idx="18">
                  <c:v>20</c:v>
                </c:pt>
                <c:pt idx="19">
                  <c:v>24</c:v>
                </c:pt>
                <c:pt idx="20">
                  <c:v>29</c:v>
                </c:pt>
                <c:pt idx="21">
                  <c:v>33</c:v>
                </c:pt>
                <c:pt idx="22">
                  <c:v>34</c:v>
                </c:pt>
                <c:pt idx="23">
                  <c:v>38</c:v>
                </c:pt>
                <c:pt idx="24">
                  <c:v>50</c:v>
                </c:pt>
                <c:pt idx="25">
                  <c:v>57</c:v>
                </c:pt>
                <c:pt idx="26">
                  <c:v>59</c:v>
                </c:pt>
                <c:pt idx="27">
                  <c:v>63</c:v>
                </c:pt>
                <c:pt idx="28">
                  <c:v>86</c:v>
                </c:pt>
                <c:pt idx="29">
                  <c:v>96</c:v>
                </c:pt>
                <c:pt idx="30">
                  <c:v>126</c:v>
                </c:pt>
                <c:pt idx="31">
                  <c:v>220</c:v>
                </c:pt>
                <c:pt idx="32">
                  <c:v>251</c:v>
                </c:pt>
                <c:pt idx="33">
                  <c:v>280</c:v>
                </c:pt>
                <c:pt idx="34">
                  <c:v>370</c:v>
                </c:pt>
                <c:pt idx="35">
                  <c:v>416</c:v>
                </c:pt>
                <c:pt idx="36">
                  <c:v>458</c:v>
                </c:pt>
                <c:pt idx="37">
                  <c:v>542</c:v>
                </c:pt>
                <c:pt idx="38">
                  <c:v>629</c:v>
                </c:pt>
                <c:pt idx="39">
                  <c:v>680</c:v>
                </c:pt>
                <c:pt idx="40">
                  <c:v>705</c:v>
                </c:pt>
                <c:pt idx="41">
                  <c:v>864</c:v>
                </c:pt>
                <c:pt idx="42">
                  <c:v>1018</c:v>
                </c:pt>
                <c:pt idx="43">
                  <c:v>1209</c:v>
                </c:pt>
                <c:pt idx="44">
                  <c:v>1408</c:v>
                </c:pt>
                <c:pt idx="45">
                  <c:v>1619</c:v>
                </c:pt>
                <c:pt idx="46">
                  <c:v>1723</c:v>
                </c:pt>
                <c:pt idx="47">
                  <c:v>1771</c:v>
                </c:pt>
                <c:pt idx="48">
                  <c:v>1962</c:v>
                </c:pt>
                <c:pt idx="49">
                  <c:v>2155</c:v>
                </c:pt>
                <c:pt idx="50">
                  <c:v>2412</c:v>
                </c:pt>
                <c:pt idx="51">
                  <c:v>2647</c:v>
                </c:pt>
                <c:pt idx="52">
                  <c:v>2981</c:v>
                </c:pt>
                <c:pt idx="53">
                  <c:v>3168</c:v>
                </c:pt>
                <c:pt idx="54">
                  <c:v>3258</c:v>
                </c:pt>
                <c:pt idx="55">
                  <c:v>3633</c:v>
                </c:pt>
                <c:pt idx="56">
                  <c:v>4029</c:v>
                </c:pt>
                <c:pt idx="57">
                  <c:v>4162</c:v>
                </c:pt>
                <c:pt idx="58">
                  <c:v>4631</c:v>
                </c:pt>
                <c:pt idx="59">
                  <c:v>4963</c:v>
                </c:pt>
                <c:pt idx="60">
                  <c:v>5146</c:v>
                </c:pt>
                <c:pt idx="61">
                  <c:v>5262</c:v>
                </c:pt>
                <c:pt idx="62">
                  <c:v>5559</c:v>
                </c:pt>
                <c:pt idx="63">
                  <c:v>5790</c:v>
                </c:pt>
                <c:pt idx="64">
                  <c:v>6119</c:v>
                </c:pt>
                <c:pt idx="65">
                  <c:v>6398</c:v>
                </c:pt>
                <c:pt idx="66">
                  <c:v>6638</c:v>
                </c:pt>
                <c:pt idx="67">
                  <c:v>6755</c:v>
                </c:pt>
                <c:pt idx="68">
                  <c:v>6803</c:v>
                </c:pt>
                <c:pt idx="69">
                  <c:v>7000</c:v>
                </c:pt>
                <c:pt idx="70">
                  <c:v>7205</c:v>
                </c:pt>
                <c:pt idx="71">
                  <c:v>7467</c:v>
                </c:pt>
                <c:pt idx="72">
                  <c:v>7697</c:v>
                </c:pt>
                <c:pt idx="73">
                  <c:v>7901</c:v>
                </c:pt>
                <c:pt idx="74">
                  <c:v>7974</c:v>
                </c:pt>
                <c:pt idx="75">
                  <c:v>8004</c:v>
                </c:pt>
                <c:pt idx="76">
                  <c:v>8182</c:v>
                </c:pt>
                <c:pt idx="77">
                  <c:v>8228</c:v>
                </c:pt>
                <c:pt idx="78">
                  <c:v>8390</c:v>
                </c:pt>
                <c:pt idx="79">
                  <c:v>8519</c:v>
                </c:pt>
                <c:pt idx="80">
                  <c:v>8639</c:v>
                </c:pt>
                <c:pt idx="81">
                  <c:v>8675</c:v>
                </c:pt>
                <c:pt idx="82">
                  <c:v>8692</c:v>
                </c:pt>
                <c:pt idx="83">
                  <c:v>8830</c:v>
                </c:pt>
                <c:pt idx="84">
                  <c:v>8935</c:v>
                </c:pt>
                <c:pt idx="85">
                  <c:v>9028</c:v>
                </c:pt>
                <c:pt idx="86">
                  <c:v>9083</c:v>
                </c:pt>
                <c:pt idx="87">
                  <c:v>9163</c:v>
                </c:pt>
                <c:pt idx="88">
                  <c:v>9186</c:v>
                </c:pt>
                <c:pt idx="89">
                  <c:v>9201</c:v>
                </c:pt>
                <c:pt idx="90">
                  <c:v>9306</c:v>
                </c:pt>
                <c:pt idx="91">
                  <c:v>9391</c:v>
                </c:pt>
                <c:pt idx="92">
                  <c:v>9457</c:v>
                </c:pt>
                <c:pt idx="93">
                  <c:v>9514</c:v>
                </c:pt>
                <c:pt idx="94">
                  <c:v>9603</c:v>
                </c:pt>
                <c:pt idx="95">
                  <c:v>9643</c:v>
                </c:pt>
                <c:pt idx="96">
                  <c:v>9668</c:v>
                </c:pt>
                <c:pt idx="97">
                  <c:v>9788</c:v>
                </c:pt>
                <c:pt idx="98">
                  <c:v>9864</c:v>
                </c:pt>
                <c:pt idx="99">
                  <c:v>9926</c:v>
                </c:pt>
                <c:pt idx="100">
                  <c:v>9985</c:v>
                </c:pt>
                <c:pt idx="101">
                  <c:v>10062</c:v>
                </c:pt>
                <c:pt idx="102">
                  <c:v>10083</c:v>
                </c:pt>
                <c:pt idx="103">
                  <c:v>10100</c:v>
                </c:pt>
                <c:pt idx="104">
                  <c:v>10228</c:v>
                </c:pt>
                <c:pt idx="105">
                  <c:v>10299</c:v>
                </c:pt>
                <c:pt idx="106">
                  <c:v>10394</c:v>
                </c:pt>
                <c:pt idx="107">
                  <c:v>10445</c:v>
                </c:pt>
                <c:pt idx="108">
                  <c:v>10527</c:v>
                </c:pt>
                <c:pt idx="109">
                  <c:v>10554</c:v>
                </c:pt>
                <c:pt idx="110">
                  <c:v>10581</c:v>
                </c:pt>
                <c:pt idx="111">
                  <c:v>10739</c:v>
                </c:pt>
                <c:pt idx="112">
                  <c:v>10850</c:v>
                </c:pt>
                <c:pt idx="113">
                  <c:v>10966</c:v>
                </c:pt>
                <c:pt idx="114">
                  <c:v>10994</c:v>
                </c:pt>
                <c:pt idx="115">
                  <c:v>11038</c:v>
                </c:pt>
                <c:pt idx="116">
                  <c:v>11087</c:v>
                </c:pt>
                <c:pt idx="117">
                  <c:v>11133</c:v>
                </c:pt>
                <c:pt idx="118">
                  <c:v>11324</c:v>
                </c:pt>
                <c:pt idx="119">
                  <c:v>11470</c:v>
                </c:pt>
                <c:pt idx="120">
                  <c:v>11581</c:v>
                </c:pt>
                <c:pt idx="121">
                  <c:v>11666</c:v>
                </c:pt>
                <c:pt idx="122">
                  <c:v>11695</c:v>
                </c:pt>
                <c:pt idx="123">
                  <c:v>11754</c:v>
                </c:pt>
                <c:pt idx="124">
                  <c:v>11789</c:v>
                </c:pt>
                <c:pt idx="125">
                  <c:v>12064</c:v>
                </c:pt>
                <c:pt idx="126">
                  <c:v>12207</c:v>
                </c:pt>
                <c:pt idx="127">
                  <c:v>12319</c:v>
                </c:pt>
                <c:pt idx="128">
                  <c:v>12418</c:v>
                </c:pt>
                <c:pt idx="129">
                  <c:v>12539</c:v>
                </c:pt>
                <c:pt idx="130">
                  <c:v>12587</c:v>
                </c:pt>
                <c:pt idx="131">
                  <c:v>12612</c:v>
                </c:pt>
                <c:pt idx="132">
                  <c:v>12842</c:v>
                </c:pt>
                <c:pt idx="133">
                  <c:v>12938</c:v>
                </c:pt>
                <c:pt idx="134">
                  <c:v>13046</c:v>
                </c:pt>
                <c:pt idx="135">
                  <c:v>13099</c:v>
                </c:pt>
                <c:pt idx="136">
                  <c:v>13164</c:v>
                </c:pt>
                <c:pt idx="137">
                  <c:v>13196</c:v>
                </c:pt>
                <c:pt idx="138">
                  <c:v>13222</c:v>
                </c:pt>
                <c:pt idx="139">
                  <c:v>13346</c:v>
                </c:pt>
                <c:pt idx="140">
                  <c:v>13421</c:v>
                </c:pt>
                <c:pt idx="141">
                  <c:v>13492</c:v>
                </c:pt>
                <c:pt idx="142">
                  <c:v>13552</c:v>
                </c:pt>
                <c:pt idx="143">
                  <c:v>13631</c:v>
                </c:pt>
                <c:pt idx="144">
                  <c:v>13657</c:v>
                </c:pt>
                <c:pt idx="145">
                  <c:v>13668</c:v>
                </c:pt>
                <c:pt idx="146">
                  <c:v>13757</c:v>
                </c:pt>
                <c:pt idx="147">
                  <c:v>13833</c:v>
                </c:pt>
                <c:pt idx="148">
                  <c:v>13892</c:v>
                </c:pt>
                <c:pt idx="149">
                  <c:v>13924</c:v>
                </c:pt>
                <c:pt idx="150">
                  <c:v>13970</c:v>
                </c:pt>
                <c:pt idx="151">
                  <c:v>13999</c:v>
                </c:pt>
                <c:pt idx="152">
                  <c:v>14008</c:v>
                </c:pt>
                <c:pt idx="153">
                  <c:v>14087</c:v>
                </c:pt>
                <c:pt idx="154">
                  <c:v>14156</c:v>
                </c:pt>
                <c:pt idx="155">
                  <c:v>14214</c:v>
                </c:pt>
                <c:pt idx="156">
                  <c:v>14256</c:v>
                </c:pt>
                <c:pt idx="157">
                  <c:v>14303</c:v>
                </c:pt>
                <c:pt idx="158">
                  <c:v>14314</c:v>
                </c:pt>
                <c:pt idx="159">
                  <c:v>14331</c:v>
                </c:pt>
                <c:pt idx="160">
                  <c:v>14401</c:v>
                </c:pt>
                <c:pt idx="161">
                  <c:v>14422</c:v>
                </c:pt>
                <c:pt idx="162">
                  <c:v>14455</c:v>
                </c:pt>
                <c:pt idx="163">
                  <c:v>14493</c:v>
                </c:pt>
                <c:pt idx="164">
                  <c:v>14532</c:v>
                </c:pt>
                <c:pt idx="165">
                  <c:v>14547</c:v>
                </c:pt>
                <c:pt idx="166">
                  <c:v>14557</c:v>
                </c:pt>
                <c:pt idx="167">
                  <c:v>14620</c:v>
                </c:pt>
                <c:pt idx="168">
                  <c:v>14653</c:v>
                </c:pt>
                <c:pt idx="169">
                  <c:v>14689</c:v>
                </c:pt>
                <c:pt idx="170">
                  <c:v>14718</c:v>
                </c:pt>
                <c:pt idx="171">
                  <c:v>14753</c:v>
                </c:pt>
                <c:pt idx="172">
                  <c:v>14759</c:v>
                </c:pt>
                <c:pt idx="173">
                  <c:v>14777</c:v>
                </c:pt>
                <c:pt idx="174">
                  <c:v>14850</c:v>
                </c:pt>
                <c:pt idx="175">
                  <c:v>14894</c:v>
                </c:pt>
                <c:pt idx="176">
                  <c:v>14928</c:v>
                </c:pt>
                <c:pt idx="177">
                  <c:v>14960</c:v>
                </c:pt>
                <c:pt idx="178">
                  <c:v>14999</c:v>
                </c:pt>
                <c:pt idx="179">
                  <c:v>15008</c:v>
                </c:pt>
                <c:pt idx="180">
                  <c:v>15017</c:v>
                </c:pt>
                <c:pt idx="181">
                  <c:v>15074</c:v>
                </c:pt>
                <c:pt idx="182">
                  <c:v>15113</c:v>
                </c:pt>
                <c:pt idx="183">
                  <c:v>15169</c:v>
                </c:pt>
                <c:pt idx="184">
                  <c:v>15207</c:v>
                </c:pt>
                <c:pt idx="185">
                  <c:v>15235</c:v>
                </c:pt>
                <c:pt idx="186">
                  <c:v>15249</c:v>
                </c:pt>
                <c:pt idx="187">
                  <c:v>15259</c:v>
                </c:pt>
                <c:pt idx="188">
                  <c:v>15319</c:v>
                </c:pt>
                <c:pt idx="189">
                  <c:v>15356</c:v>
                </c:pt>
                <c:pt idx="190">
                  <c:v>15385</c:v>
                </c:pt>
                <c:pt idx="191">
                  <c:v>15411</c:v>
                </c:pt>
                <c:pt idx="192">
                  <c:v>15429</c:v>
                </c:pt>
                <c:pt idx="193">
                  <c:v>15440</c:v>
                </c:pt>
                <c:pt idx="194">
                  <c:v>15447</c:v>
                </c:pt>
                <c:pt idx="195">
                  <c:v>15482</c:v>
                </c:pt>
                <c:pt idx="196">
                  <c:v>15505</c:v>
                </c:pt>
                <c:pt idx="197">
                  <c:v>15528</c:v>
                </c:pt>
                <c:pt idx="198">
                  <c:v>15544</c:v>
                </c:pt>
                <c:pt idx="199">
                  <c:v>15564</c:v>
                </c:pt>
                <c:pt idx="200">
                  <c:v>15565</c:v>
                </c:pt>
                <c:pt idx="201">
                  <c:v>15569</c:v>
                </c:pt>
                <c:pt idx="202">
                  <c:v>15598</c:v>
                </c:pt>
                <c:pt idx="203">
                  <c:v>15616</c:v>
                </c:pt>
                <c:pt idx="204">
                  <c:v>15626</c:v>
                </c:pt>
                <c:pt idx="205">
                  <c:v>15634</c:v>
                </c:pt>
                <c:pt idx="206">
                  <c:v>15650</c:v>
                </c:pt>
                <c:pt idx="207">
                  <c:v>15653</c:v>
                </c:pt>
                <c:pt idx="208">
                  <c:v>15654</c:v>
                </c:pt>
                <c:pt idx="209">
                  <c:v>15673</c:v>
                </c:pt>
                <c:pt idx="210">
                  <c:v>15687</c:v>
                </c:pt>
                <c:pt idx="211">
                  <c:v>15700</c:v>
                </c:pt>
                <c:pt idx="212">
                  <c:v>15712</c:v>
                </c:pt>
                <c:pt idx="213">
                  <c:v>15715</c:v>
                </c:pt>
                <c:pt idx="214">
                  <c:v>15718</c:v>
                </c:pt>
                <c:pt idx="215">
                  <c:v>15720</c:v>
                </c:pt>
                <c:pt idx="216">
                  <c:v>15725</c:v>
                </c:pt>
                <c:pt idx="217">
                  <c:v>15747</c:v>
                </c:pt>
                <c:pt idx="218">
                  <c:v>15763</c:v>
                </c:pt>
                <c:pt idx="219">
                  <c:v>15779</c:v>
                </c:pt>
                <c:pt idx="220">
                  <c:v>15787</c:v>
                </c:pt>
                <c:pt idx="221">
                  <c:v>15791</c:v>
                </c:pt>
                <c:pt idx="222">
                  <c:v>15792</c:v>
                </c:pt>
                <c:pt idx="223">
                  <c:v>15800</c:v>
                </c:pt>
                <c:pt idx="224">
                  <c:v>15806</c:v>
                </c:pt>
                <c:pt idx="225">
                  <c:v>15810</c:v>
                </c:pt>
                <c:pt idx="226">
                  <c:v>15816</c:v>
                </c:pt>
                <c:pt idx="227">
                  <c:v>15822</c:v>
                </c:pt>
                <c:pt idx="228">
                  <c:v>15823</c:v>
                </c:pt>
                <c:pt idx="229">
                  <c:v>15824</c:v>
                </c:pt>
                <c:pt idx="230">
                  <c:v>15834</c:v>
                </c:pt>
                <c:pt idx="231">
                  <c:v>15837</c:v>
                </c:pt>
                <c:pt idx="232">
                  <c:v>15840</c:v>
                </c:pt>
                <c:pt idx="233">
                  <c:v>15844</c:v>
                </c:pt>
                <c:pt idx="234">
                  <c:v>15847</c:v>
                </c:pt>
                <c:pt idx="235">
                  <c:v>15848</c:v>
                </c:pt>
                <c:pt idx="236">
                  <c:v>15848</c:v>
                </c:pt>
                <c:pt idx="237">
                  <c:v>15855</c:v>
                </c:pt>
                <c:pt idx="238">
                  <c:v>15862</c:v>
                </c:pt>
                <c:pt idx="239">
                  <c:v>15864</c:v>
                </c:pt>
                <c:pt idx="240">
                  <c:v>15866</c:v>
                </c:pt>
                <c:pt idx="241">
                  <c:v>15871</c:v>
                </c:pt>
                <c:pt idx="242">
                  <c:v>15871</c:v>
                </c:pt>
                <c:pt idx="243">
                  <c:v>15872</c:v>
                </c:pt>
                <c:pt idx="244">
                  <c:v>15874</c:v>
                </c:pt>
                <c:pt idx="245">
                  <c:v>15876</c:v>
                </c:pt>
                <c:pt idx="246">
                  <c:v>15877</c:v>
                </c:pt>
                <c:pt idx="247">
                  <c:v>15882</c:v>
                </c:pt>
                <c:pt idx="248">
                  <c:v>15884</c:v>
                </c:pt>
                <c:pt idx="249">
                  <c:v>15885</c:v>
                </c:pt>
                <c:pt idx="250">
                  <c:v>15885</c:v>
                </c:pt>
                <c:pt idx="251">
                  <c:v>15886</c:v>
                </c:pt>
                <c:pt idx="252">
                  <c:v>15890</c:v>
                </c:pt>
                <c:pt idx="253">
                  <c:v>15890</c:v>
                </c:pt>
                <c:pt idx="254">
                  <c:v>15892</c:v>
                </c:pt>
                <c:pt idx="255">
                  <c:v>15893</c:v>
                </c:pt>
                <c:pt idx="256">
                  <c:v>15893</c:v>
                </c:pt>
                <c:pt idx="257">
                  <c:v>15893</c:v>
                </c:pt>
                <c:pt idx="258">
                  <c:v>15897</c:v>
                </c:pt>
                <c:pt idx="259">
                  <c:v>15901</c:v>
                </c:pt>
                <c:pt idx="260">
                  <c:v>15902</c:v>
                </c:pt>
                <c:pt idx="261">
                  <c:v>15905</c:v>
                </c:pt>
                <c:pt idx="262">
                  <c:v>15905</c:v>
                </c:pt>
                <c:pt idx="263">
                  <c:v>15905</c:v>
                </c:pt>
                <c:pt idx="264">
                  <c:v>15905</c:v>
                </c:pt>
                <c:pt idx="265">
                  <c:v>15907</c:v>
                </c:pt>
                <c:pt idx="266">
                  <c:v>15908</c:v>
                </c:pt>
                <c:pt idx="267">
                  <c:v>15909</c:v>
                </c:pt>
                <c:pt idx="268">
                  <c:v>15910</c:v>
                </c:pt>
                <c:pt idx="269">
                  <c:v>15910</c:v>
                </c:pt>
                <c:pt idx="270">
                  <c:v>15910</c:v>
                </c:pt>
                <c:pt idx="271">
                  <c:v>15910</c:v>
                </c:pt>
                <c:pt idx="272">
                  <c:v>15910</c:v>
                </c:pt>
                <c:pt idx="273">
                  <c:v>15910</c:v>
                </c:pt>
                <c:pt idx="274">
                  <c:v>15910</c:v>
                </c:pt>
                <c:pt idx="275">
                  <c:v>15911</c:v>
                </c:pt>
                <c:pt idx="276">
                  <c:v>15911</c:v>
                </c:pt>
                <c:pt idx="277">
                  <c:v>15911</c:v>
                </c:pt>
                <c:pt idx="278">
                  <c:v>15911</c:v>
                </c:pt>
                <c:pt idx="279">
                  <c:v>15911</c:v>
                </c:pt>
                <c:pt idx="280">
                  <c:v>15911</c:v>
                </c:pt>
                <c:pt idx="281">
                  <c:v>15911</c:v>
                </c:pt>
                <c:pt idx="282">
                  <c:v>15911</c:v>
                </c:pt>
                <c:pt idx="283">
                  <c:v>15911</c:v>
                </c:pt>
                <c:pt idx="284">
                  <c:v>15911</c:v>
                </c:pt>
                <c:pt idx="285">
                  <c:v>15911</c:v>
                </c:pt>
                <c:pt idx="286">
                  <c:v>15911</c:v>
                </c:pt>
                <c:pt idx="287">
                  <c:v>15911</c:v>
                </c:pt>
                <c:pt idx="288">
                  <c:v>15911</c:v>
                </c:pt>
                <c:pt idx="289">
                  <c:v>15911</c:v>
                </c:pt>
                <c:pt idx="290">
                  <c:v>15911</c:v>
                </c:pt>
                <c:pt idx="291">
                  <c:v>15911</c:v>
                </c:pt>
                <c:pt idx="292">
                  <c:v>15911</c:v>
                </c:pt>
                <c:pt idx="293">
                  <c:v>15911</c:v>
                </c:pt>
                <c:pt idx="294">
                  <c:v>15911</c:v>
                </c:pt>
                <c:pt idx="295">
                  <c:v>15911</c:v>
                </c:pt>
                <c:pt idx="296">
                  <c:v>15911</c:v>
                </c:pt>
                <c:pt idx="297">
                  <c:v>15911</c:v>
                </c:pt>
                <c:pt idx="298">
                  <c:v>15911</c:v>
                </c:pt>
                <c:pt idx="299">
                  <c:v>15911</c:v>
                </c:pt>
                <c:pt idx="300">
                  <c:v>15911</c:v>
                </c:pt>
                <c:pt idx="301">
                  <c:v>15911</c:v>
                </c:pt>
                <c:pt idx="302">
                  <c:v>15912</c:v>
                </c:pt>
                <c:pt idx="303">
                  <c:v>15912</c:v>
                </c:pt>
                <c:pt idx="304">
                  <c:v>15912</c:v>
                </c:pt>
                <c:pt idx="305">
                  <c:v>15912</c:v>
                </c:pt>
                <c:pt idx="306">
                  <c:v>15912</c:v>
                </c:pt>
                <c:pt idx="307">
                  <c:v>15912</c:v>
                </c:pt>
                <c:pt idx="308">
                  <c:v>15912</c:v>
                </c:pt>
                <c:pt idx="309">
                  <c:v>15912</c:v>
                </c:pt>
                <c:pt idx="310">
                  <c:v>15912</c:v>
                </c:pt>
                <c:pt idx="311">
                  <c:v>15912</c:v>
                </c:pt>
                <c:pt idx="312">
                  <c:v>15912</c:v>
                </c:pt>
                <c:pt idx="313">
                  <c:v>15913</c:v>
                </c:pt>
                <c:pt idx="314">
                  <c:v>15913</c:v>
                </c:pt>
                <c:pt idx="315">
                  <c:v>15913</c:v>
                </c:pt>
                <c:pt idx="316">
                  <c:v>15913</c:v>
                </c:pt>
                <c:pt idx="317">
                  <c:v>15913</c:v>
                </c:pt>
                <c:pt idx="318">
                  <c:v>15913</c:v>
                </c:pt>
                <c:pt idx="319">
                  <c:v>15913</c:v>
                </c:pt>
                <c:pt idx="320">
                  <c:v>15913</c:v>
                </c:pt>
                <c:pt idx="321">
                  <c:v>15913</c:v>
                </c:pt>
                <c:pt idx="322">
                  <c:v>15913</c:v>
                </c:pt>
                <c:pt idx="323">
                  <c:v>15914</c:v>
                </c:pt>
                <c:pt idx="324">
                  <c:v>15914</c:v>
                </c:pt>
                <c:pt idx="325">
                  <c:v>15914</c:v>
                </c:pt>
                <c:pt idx="326">
                  <c:v>15914</c:v>
                </c:pt>
                <c:pt idx="327">
                  <c:v>15914</c:v>
                </c:pt>
                <c:pt idx="328">
                  <c:v>15914</c:v>
                </c:pt>
                <c:pt idx="329">
                  <c:v>15915</c:v>
                </c:pt>
                <c:pt idx="330">
                  <c:v>15917</c:v>
                </c:pt>
                <c:pt idx="331">
                  <c:v>15917</c:v>
                </c:pt>
                <c:pt idx="332">
                  <c:v>15917</c:v>
                </c:pt>
                <c:pt idx="333">
                  <c:v>15917</c:v>
                </c:pt>
                <c:pt idx="334">
                  <c:v>15917</c:v>
                </c:pt>
                <c:pt idx="335">
                  <c:v>15917</c:v>
                </c:pt>
                <c:pt idx="336">
                  <c:v>15917</c:v>
                </c:pt>
                <c:pt idx="337">
                  <c:v>15917</c:v>
                </c:pt>
                <c:pt idx="338">
                  <c:v>15917</c:v>
                </c:pt>
                <c:pt idx="339">
                  <c:v>15917</c:v>
                </c:pt>
                <c:pt idx="340">
                  <c:v>15917</c:v>
                </c:pt>
                <c:pt idx="341">
                  <c:v>15918</c:v>
                </c:pt>
                <c:pt idx="342">
                  <c:v>15918</c:v>
                </c:pt>
                <c:pt idx="343">
                  <c:v>15918</c:v>
                </c:pt>
                <c:pt idx="344">
                  <c:v>15919</c:v>
                </c:pt>
                <c:pt idx="345">
                  <c:v>15919</c:v>
                </c:pt>
                <c:pt idx="346">
                  <c:v>15919</c:v>
                </c:pt>
                <c:pt idx="347">
                  <c:v>15919</c:v>
                </c:pt>
                <c:pt idx="348">
                  <c:v>15919</c:v>
                </c:pt>
                <c:pt idx="349">
                  <c:v>15919</c:v>
                </c:pt>
                <c:pt idx="350">
                  <c:v>15919</c:v>
                </c:pt>
                <c:pt idx="351">
                  <c:v>15919</c:v>
                </c:pt>
                <c:pt idx="352">
                  <c:v>15919</c:v>
                </c:pt>
                <c:pt idx="353">
                  <c:v>15919</c:v>
                </c:pt>
                <c:pt idx="354">
                  <c:v>15919</c:v>
                </c:pt>
                <c:pt idx="355">
                  <c:v>15919</c:v>
                </c:pt>
                <c:pt idx="356">
                  <c:v>15920</c:v>
                </c:pt>
                <c:pt idx="357">
                  <c:v>15920</c:v>
                </c:pt>
                <c:pt idx="358">
                  <c:v>15920</c:v>
                </c:pt>
                <c:pt idx="359">
                  <c:v>15921</c:v>
                </c:pt>
                <c:pt idx="360">
                  <c:v>15922</c:v>
                </c:pt>
                <c:pt idx="361">
                  <c:v>15923</c:v>
                </c:pt>
                <c:pt idx="362">
                  <c:v>15923</c:v>
                </c:pt>
                <c:pt idx="363">
                  <c:v>15923</c:v>
                </c:pt>
                <c:pt idx="364">
                  <c:v>15923</c:v>
                </c:pt>
                <c:pt idx="365">
                  <c:v>15925</c:v>
                </c:pt>
                <c:pt idx="366">
                  <c:v>15926</c:v>
                </c:pt>
                <c:pt idx="367">
                  <c:v>15927</c:v>
                </c:pt>
                <c:pt idx="368">
                  <c:v>15927</c:v>
                </c:pt>
                <c:pt idx="369">
                  <c:v>15927</c:v>
                </c:pt>
                <c:pt idx="370">
                  <c:v>15928</c:v>
                </c:pt>
                <c:pt idx="371">
                  <c:v>15930</c:v>
                </c:pt>
                <c:pt idx="372">
                  <c:v>15931</c:v>
                </c:pt>
                <c:pt idx="373">
                  <c:v>15932</c:v>
                </c:pt>
                <c:pt idx="374">
                  <c:v>15932</c:v>
                </c:pt>
                <c:pt idx="375">
                  <c:v>15932</c:v>
                </c:pt>
                <c:pt idx="376">
                  <c:v>15933</c:v>
                </c:pt>
                <c:pt idx="377">
                  <c:v>15933</c:v>
                </c:pt>
                <c:pt idx="378">
                  <c:v>15934</c:v>
                </c:pt>
                <c:pt idx="379">
                  <c:v>15934</c:v>
                </c:pt>
                <c:pt idx="380">
                  <c:v>15934</c:v>
                </c:pt>
                <c:pt idx="381">
                  <c:v>15934</c:v>
                </c:pt>
                <c:pt idx="382">
                  <c:v>15935</c:v>
                </c:pt>
                <c:pt idx="383">
                  <c:v>15935</c:v>
                </c:pt>
                <c:pt idx="384">
                  <c:v>15939</c:v>
                </c:pt>
                <c:pt idx="385">
                  <c:v>15942</c:v>
                </c:pt>
                <c:pt idx="386">
                  <c:v>15944</c:v>
                </c:pt>
                <c:pt idx="387">
                  <c:v>15944</c:v>
                </c:pt>
                <c:pt idx="388">
                  <c:v>15944</c:v>
                </c:pt>
                <c:pt idx="389">
                  <c:v>15945</c:v>
                </c:pt>
                <c:pt idx="390">
                  <c:v>15946</c:v>
                </c:pt>
                <c:pt idx="391">
                  <c:v>15951</c:v>
                </c:pt>
                <c:pt idx="392">
                  <c:v>15953</c:v>
                </c:pt>
                <c:pt idx="393">
                  <c:v>15960</c:v>
                </c:pt>
                <c:pt idx="394">
                  <c:v>15963</c:v>
                </c:pt>
                <c:pt idx="395">
                  <c:v>15965</c:v>
                </c:pt>
                <c:pt idx="396">
                  <c:v>15965</c:v>
                </c:pt>
                <c:pt idx="397">
                  <c:v>15965</c:v>
                </c:pt>
                <c:pt idx="398">
                  <c:v>15968</c:v>
                </c:pt>
                <c:pt idx="399">
                  <c:v>15973</c:v>
                </c:pt>
                <c:pt idx="400">
                  <c:v>15975</c:v>
                </c:pt>
                <c:pt idx="401">
                  <c:v>15976</c:v>
                </c:pt>
                <c:pt idx="402">
                  <c:v>15978</c:v>
                </c:pt>
                <c:pt idx="403">
                  <c:v>15979</c:v>
                </c:pt>
                <c:pt idx="404">
                  <c:v>15979</c:v>
                </c:pt>
                <c:pt idx="405">
                  <c:v>15981</c:v>
                </c:pt>
                <c:pt idx="406">
                  <c:v>15984</c:v>
                </c:pt>
                <c:pt idx="407">
                  <c:v>15985</c:v>
                </c:pt>
                <c:pt idx="408">
                  <c:v>15988</c:v>
                </c:pt>
                <c:pt idx="409">
                  <c:v>15994</c:v>
                </c:pt>
                <c:pt idx="410">
                  <c:v>15996</c:v>
                </c:pt>
                <c:pt idx="411">
                  <c:v>15997</c:v>
                </c:pt>
                <c:pt idx="412">
                  <c:v>16009</c:v>
                </c:pt>
                <c:pt idx="413">
                  <c:v>16017</c:v>
                </c:pt>
                <c:pt idx="414">
                  <c:v>16026</c:v>
                </c:pt>
                <c:pt idx="415">
                  <c:v>16033</c:v>
                </c:pt>
                <c:pt idx="416">
                  <c:v>16043</c:v>
                </c:pt>
                <c:pt idx="417">
                  <c:v>16043</c:v>
                </c:pt>
                <c:pt idx="418">
                  <c:v>16046</c:v>
                </c:pt>
                <c:pt idx="419">
                  <c:v>16065</c:v>
                </c:pt>
                <c:pt idx="420">
                  <c:v>16070</c:v>
                </c:pt>
                <c:pt idx="421">
                  <c:v>16087</c:v>
                </c:pt>
                <c:pt idx="422">
                  <c:v>16090</c:v>
                </c:pt>
                <c:pt idx="423">
                  <c:v>16098</c:v>
                </c:pt>
                <c:pt idx="424">
                  <c:v>16103</c:v>
                </c:pt>
                <c:pt idx="425">
                  <c:v>16107</c:v>
                </c:pt>
                <c:pt idx="426">
                  <c:v>16147</c:v>
                </c:pt>
                <c:pt idx="427">
                  <c:v>16172</c:v>
                </c:pt>
                <c:pt idx="428">
                  <c:v>16191</c:v>
                </c:pt>
                <c:pt idx="429">
                  <c:v>16215</c:v>
                </c:pt>
                <c:pt idx="430">
                  <c:v>16242</c:v>
                </c:pt>
                <c:pt idx="431">
                  <c:v>16255</c:v>
                </c:pt>
                <c:pt idx="432">
                  <c:v>16260</c:v>
                </c:pt>
                <c:pt idx="433">
                  <c:v>16310</c:v>
                </c:pt>
                <c:pt idx="434">
                  <c:v>16335</c:v>
                </c:pt>
                <c:pt idx="435">
                  <c:v>16364</c:v>
                </c:pt>
                <c:pt idx="436">
                  <c:v>16399</c:v>
                </c:pt>
                <c:pt idx="437">
                  <c:v>16433</c:v>
                </c:pt>
                <c:pt idx="438">
                  <c:v>16453</c:v>
                </c:pt>
                <c:pt idx="439">
                  <c:v>16467</c:v>
                </c:pt>
                <c:pt idx="440">
                  <c:v>16522</c:v>
                </c:pt>
                <c:pt idx="441">
                  <c:v>16555</c:v>
                </c:pt>
                <c:pt idx="442">
                  <c:v>16568</c:v>
                </c:pt>
                <c:pt idx="443">
                  <c:v>16610</c:v>
                </c:pt>
                <c:pt idx="444">
                  <c:v>16662</c:v>
                </c:pt>
                <c:pt idx="445">
                  <c:v>16673</c:v>
                </c:pt>
                <c:pt idx="446">
                  <c:v>16680</c:v>
                </c:pt>
                <c:pt idx="447">
                  <c:v>16748</c:v>
                </c:pt>
                <c:pt idx="448">
                  <c:v>16792</c:v>
                </c:pt>
                <c:pt idx="449">
                  <c:v>16837</c:v>
                </c:pt>
                <c:pt idx="450">
                  <c:v>16883</c:v>
                </c:pt>
                <c:pt idx="451">
                  <c:v>16930</c:v>
                </c:pt>
                <c:pt idx="452">
                  <c:v>16951</c:v>
                </c:pt>
                <c:pt idx="453">
                  <c:v>16959</c:v>
                </c:pt>
                <c:pt idx="454">
                  <c:v>16997</c:v>
                </c:pt>
                <c:pt idx="455">
                  <c:v>17041</c:v>
                </c:pt>
                <c:pt idx="456">
                  <c:v>17078</c:v>
                </c:pt>
                <c:pt idx="457">
                  <c:v>17110</c:v>
                </c:pt>
                <c:pt idx="458">
                  <c:v>17141</c:v>
                </c:pt>
                <c:pt idx="459">
                  <c:v>17168</c:v>
                </c:pt>
                <c:pt idx="460">
                  <c:v>17177</c:v>
                </c:pt>
                <c:pt idx="461">
                  <c:v>17221</c:v>
                </c:pt>
                <c:pt idx="462">
                  <c:v>17268</c:v>
                </c:pt>
                <c:pt idx="463">
                  <c:v>17302</c:v>
                </c:pt>
                <c:pt idx="464">
                  <c:v>17341</c:v>
                </c:pt>
                <c:pt idx="465">
                  <c:v>17363</c:v>
                </c:pt>
                <c:pt idx="466">
                  <c:v>17379</c:v>
                </c:pt>
                <c:pt idx="467">
                  <c:v>17385</c:v>
                </c:pt>
                <c:pt idx="468">
                  <c:v>17402</c:v>
                </c:pt>
                <c:pt idx="469">
                  <c:v>17440</c:v>
                </c:pt>
                <c:pt idx="470">
                  <c:v>17473</c:v>
                </c:pt>
                <c:pt idx="471">
                  <c:v>17489</c:v>
                </c:pt>
                <c:pt idx="472">
                  <c:v>17501</c:v>
                </c:pt>
                <c:pt idx="473">
                  <c:v>17502</c:v>
                </c:pt>
                <c:pt idx="474">
                  <c:v>175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C3-4558-95C0-65D81E5CAFC4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476</c:f>
              <c:numCache>
                <c:formatCode>m/d/yyyy</c:formatCode>
                <c:ptCount val="4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</c:numCache>
            </c:numRef>
          </c:cat>
          <c:val>
            <c:numRef>
              <c:f>List1!$D$2:$D$476</c:f>
              <c:numCache>
                <c:formatCode>General</c:formatCode>
                <c:ptCount val="475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1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20</c:v>
                </c:pt>
                <c:pt idx="12">
                  <c:v>21</c:v>
                </c:pt>
                <c:pt idx="13">
                  <c:v>24</c:v>
                </c:pt>
                <c:pt idx="14">
                  <c:v>25</c:v>
                </c:pt>
                <c:pt idx="15">
                  <c:v>27</c:v>
                </c:pt>
                <c:pt idx="16">
                  <c:v>29</c:v>
                </c:pt>
                <c:pt idx="17">
                  <c:v>33</c:v>
                </c:pt>
                <c:pt idx="18">
                  <c:v>35</c:v>
                </c:pt>
                <c:pt idx="19">
                  <c:v>42</c:v>
                </c:pt>
                <c:pt idx="20">
                  <c:v>48</c:v>
                </c:pt>
                <c:pt idx="21">
                  <c:v>52</c:v>
                </c:pt>
                <c:pt idx="22">
                  <c:v>54</c:v>
                </c:pt>
                <c:pt idx="23">
                  <c:v>61</c:v>
                </c:pt>
                <c:pt idx="24">
                  <c:v>74</c:v>
                </c:pt>
                <c:pt idx="25">
                  <c:v>86</c:v>
                </c:pt>
                <c:pt idx="26">
                  <c:v>93</c:v>
                </c:pt>
                <c:pt idx="27">
                  <c:v>100</c:v>
                </c:pt>
                <c:pt idx="28">
                  <c:v>128</c:v>
                </c:pt>
                <c:pt idx="29">
                  <c:v>166</c:v>
                </c:pt>
                <c:pt idx="30">
                  <c:v>227</c:v>
                </c:pt>
                <c:pt idx="31">
                  <c:v>383</c:v>
                </c:pt>
                <c:pt idx="32">
                  <c:v>450</c:v>
                </c:pt>
                <c:pt idx="33">
                  <c:v>533</c:v>
                </c:pt>
                <c:pt idx="34">
                  <c:v>790</c:v>
                </c:pt>
                <c:pt idx="35">
                  <c:v>918</c:v>
                </c:pt>
                <c:pt idx="36">
                  <c:v>1005</c:v>
                </c:pt>
                <c:pt idx="37">
                  <c:v>1167</c:v>
                </c:pt>
                <c:pt idx="38">
                  <c:v>1393</c:v>
                </c:pt>
                <c:pt idx="39">
                  <c:v>1474</c:v>
                </c:pt>
                <c:pt idx="40">
                  <c:v>1510</c:v>
                </c:pt>
                <c:pt idx="41">
                  <c:v>1807</c:v>
                </c:pt>
                <c:pt idx="42">
                  <c:v>2183</c:v>
                </c:pt>
                <c:pt idx="43">
                  <c:v>2555</c:v>
                </c:pt>
                <c:pt idx="44">
                  <c:v>2947</c:v>
                </c:pt>
                <c:pt idx="45">
                  <c:v>3363</c:v>
                </c:pt>
                <c:pt idx="46">
                  <c:v>3622</c:v>
                </c:pt>
                <c:pt idx="47">
                  <c:v>3711</c:v>
                </c:pt>
                <c:pt idx="48">
                  <c:v>4144</c:v>
                </c:pt>
                <c:pt idx="49">
                  <c:v>4537</c:v>
                </c:pt>
                <c:pt idx="50">
                  <c:v>5120</c:v>
                </c:pt>
                <c:pt idx="51">
                  <c:v>5583</c:v>
                </c:pt>
                <c:pt idx="52">
                  <c:v>6332</c:v>
                </c:pt>
                <c:pt idx="53">
                  <c:v>6746</c:v>
                </c:pt>
                <c:pt idx="54">
                  <c:v>7031</c:v>
                </c:pt>
                <c:pt idx="55">
                  <c:v>7793</c:v>
                </c:pt>
                <c:pt idx="56">
                  <c:v>8711</c:v>
                </c:pt>
                <c:pt idx="57">
                  <c:v>9104</c:v>
                </c:pt>
                <c:pt idx="58">
                  <c:v>10111</c:v>
                </c:pt>
                <c:pt idx="59">
                  <c:v>11030</c:v>
                </c:pt>
                <c:pt idx="60">
                  <c:v>11550</c:v>
                </c:pt>
                <c:pt idx="61">
                  <c:v>11878</c:v>
                </c:pt>
                <c:pt idx="62">
                  <c:v>12506</c:v>
                </c:pt>
                <c:pt idx="63">
                  <c:v>13069</c:v>
                </c:pt>
                <c:pt idx="64">
                  <c:v>13822</c:v>
                </c:pt>
                <c:pt idx="65">
                  <c:v>14634</c:v>
                </c:pt>
                <c:pt idx="66">
                  <c:v>15362</c:v>
                </c:pt>
                <c:pt idx="67">
                  <c:v>15693</c:v>
                </c:pt>
                <c:pt idx="68">
                  <c:v>15819</c:v>
                </c:pt>
                <c:pt idx="69">
                  <c:v>16220</c:v>
                </c:pt>
                <c:pt idx="70">
                  <c:v>16810</c:v>
                </c:pt>
                <c:pt idx="71">
                  <c:v>17749</c:v>
                </c:pt>
                <c:pt idx="72">
                  <c:v>18477</c:v>
                </c:pt>
                <c:pt idx="73">
                  <c:v>19162</c:v>
                </c:pt>
                <c:pt idx="74">
                  <c:v>19414</c:v>
                </c:pt>
                <c:pt idx="75">
                  <c:v>19608</c:v>
                </c:pt>
                <c:pt idx="76">
                  <c:v>20168</c:v>
                </c:pt>
                <c:pt idx="77">
                  <c:v>20352</c:v>
                </c:pt>
                <c:pt idx="78">
                  <c:v>20780</c:v>
                </c:pt>
                <c:pt idx="79">
                  <c:v>21178</c:v>
                </c:pt>
                <c:pt idx="80">
                  <c:v>21536</c:v>
                </c:pt>
                <c:pt idx="81">
                  <c:v>21666</c:v>
                </c:pt>
                <c:pt idx="82">
                  <c:v>21774</c:v>
                </c:pt>
                <c:pt idx="83">
                  <c:v>22290</c:v>
                </c:pt>
                <c:pt idx="84">
                  <c:v>22593</c:v>
                </c:pt>
                <c:pt idx="85">
                  <c:v>22810</c:v>
                </c:pt>
                <c:pt idx="86">
                  <c:v>23059</c:v>
                </c:pt>
                <c:pt idx="87">
                  <c:v>23278</c:v>
                </c:pt>
                <c:pt idx="88">
                  <c:v>23379</c:v>
                </c:pt>
                <c:pt idx="89">
                  <c:v>23422</c:v>
                </c:pt>
                <c:pt idx="90">
                  <c:v>23740</c:v>
                </c:pt>
                <c:pt idx="91">
                  <c:v>23948</c:v>
                </c:pt>
                <c:pt idx="92">
                  <c:v>24146</c:v>
                </c:pt>
                <c:pt idx="93">
                  <c:v>24331</c:v>
                </c:pt>
                <c:pt idx="94">
                  <c:v>24562</c:v>
                </c:pt>
                <c:pt idx="95">
                  <c:v>24690</c:v>
                </c:pt>
                <c:pt idx="96">
                  <c:v>24735</c:v>
                </c:pt>
                <c:pt idx="97">
                  <c:v>24997</c:v>
                </c:pt>
                <c:pt idx="98">
                  <c:v>25162</c:v>
                </c:pt>
                <c:pt idx="99">
                  <c:v>25365</c:v>
                </c:pt>
                <c:pt idx="100">
                  <c:v>25507</c:v>
                </c:pt>
                <c:pt idx="101">
                  <c:v>25814</c:v>
                </c:pt>
                <c:pt idx="102">
                  <c:v>25902</c:v>
                </c:pt>
                <c:pt idx="103">
                  <c:v>25968</c:v>
                </c:pt>
                <c:pt idx="104">
                  <c:v>26244</c:v>
                </c:pt>
                <c:pt idx="105">
                  <c:v>26448</c:v>
                </c:pt>
                <c:pt idx="106">
                  <c:v>26643</c:v>
                </c:pt>
                <c:pt idx="107">
                  <c:v>26762</c:v>
                </c:pt>
                <c:pt idx="108">
                  <c:v>27066</c:v>
                </c:pt>
                <c:pt idx="109">
                  <c:v>27154</c:v>
                </c:pt>
                <c:pt idx="110">
                  <c:v>27202</c:v>
                </c:pt>
                <c:pt idx="111">
                  <c:v>27538</c:v>
                </c:pt>
                <c:pt idx="112">
                  <c:v>27825</c:v>
                </c:pt>
                <c:pt idx="113">
                  <c:v>28063</c:v>
                </c:pt>
                <c:pt idx="114">
                  <c:v>28109</c:v>
                </c:pt>
                <c:pt idx="115">
                  <c:v>28224</c:v>
                </c:pt>
                <c:pt idx="116">
                  <c:v>28351</c:v>
                </c:pt>
                <c:pt idx="117">
                  <c:v>28495</c:v>
                </c:pt>
                <c:pt idx="118">
                  <c:v>28851</c:v>
                </c:pt>
                <c:pt idx="119">
                  <c:v>29182</c:v>
                </c:pt>
                <c:pt idx="120">
                  <c:v>29437</c:v>
                </c:pt>
                <c:pt idx="121">
                  <c:v>29655</c:v>
                </c:pt>
                <c:pt idx="122">
                  <c:v>29749</c:v>
                </c:pt>
                <c:pt idx="123">
                  <c:v>29867</c:v>
                </c:pt>
                <c:pt idx="124">
                  <c:v>29943</c:v>
                </c:pt>
                <c:pt idx="125">
                  <c:v>30487</c:v>
                </c:pt>
                <c:pt idx="126">
                  <c:v>30782</c:v>
                </c:pt>
                <c:pt idx="127">
                  <c:v>31054</c:v>
                </c:pt>
                <c:pt idx="128">
                  <c:v>31385</c:v>
                </c:pt>
                <c:pt idx="129">
                  <c:v>31691</c:v>
                </c:pt>
                <c:pt idx="130">
                  <c:v>31800</c:v>
                </c:pt>
                <c:pt idx="131">
                  <c:v>31855</c:v>
                </c:pt>
                <c:pt idx="132">
                  <c:v>32323</c:v>
                </c:pt>
                <c:pt idx="133">
                  <c:v>32545</c:v>
                </c:pt>
                <c:pt idx="134">
                  <c:v>32827</c:v>
                </c:pt>
                <c:pt idx="135">
                  <c:v>32977</c:v>
                </c:pt>
                <c:pt idx="136">
                  <c:v>33128</c:v>
                </c:pt>
                <c:pt idx="137">
                  <c:v>33195</c:v>
                </c:pt>
                <c:pt idx="138">
                  <c:v>33266</c:v>
                </c:pt>
                <c:pt idx="139">
                  <c:v>33551</c:v>
                </c:pt>
                <c:pt idx="140">
                  <c:v>33705</c:v>
                </c:pt>
                <c:pt idx="141">
                  <c:v>33922</c:v>
                </c:pt>
                <c:pt idx="142">
                  <c:v>34088</c:v>
                </c:pt>
                <c:pt idx="143">
                  <c:v>34281</c:v>
                </c:pt>
                <c:pt idx="144">
                  <c:v>34360</c:v>
                </c:pt>
                <c:pt idx="145">
                  <c:v>34396</c:v>
                </c:pt>
                <c:pt idx="146">
                  <c:v>34569</c:v>
                </c:pt>
                <c:pt idx="147">
                  <c:v>34686</c:v>
                </c:pt>
                <c:pt idx="148">
                  <c:v>34840</c:v>
                </c:pt>
                <c:pt idx="149">
                  <c:v>34938</c:v>
                </c:pt>
                <c:pt idx="150">
                  <c:v>35021</c:v>
                </c:pt>
                <c:pt idx="151">
                  <c:v>35099</c:v>
                </c:pt>
                <c:pt idx="152">
                  <c:v>35117</c:v>
                </c:pt>
                <c:pt idx="153">
                  <c:v>35301</c:v>
                </c:pt>
                <c:pt idx="154">
                  <c:v>35464</c:v>
                </c:pt>
                <c:pt idx="155">
                  <c:v>35624</c:v>
                </c:pt>
                <c:pt idx="156">
                  <c:v>35748</c:v>
                </c:pt>
                <c:pt idx="157">
                  <c:v>35879</c:v>
                </c:pt>
                <c:pt idx="158">
                  <c:v>35932</c:v>
                </c:pt>
                <c:pt idx="159">
                  <c:v>35965</c:v>
                </c:pt>
                <c:pt idx="160">
                  <c:v>36100</c:v>
                </c:pt>
                <c:pt idx="161">
                  <c:v>36187</c:v>
                </c:pt>
                <c:pt idx="162">
                  <c:v>36287</c:v>
                </c:pt>
                <c:pt idx="163">
                  <c:v>36390</c:v>
                </c:pt>
                <c:pt idx="164">
                  <c:v>36481</c:v>
                </c:pt>
                <c:pt idx="165">
                  <c:v>36504</c:v>
                </c:pt>
                <c:pt idx="166">
                  <c:v>36527</c:v>
                </c:pt>
                <c:pt idx="167">
                  <c:v>36627</c:v>
                </c:pt>
                <c:pt idx="168">
                  <c:v>36677</c:v>
                </c:pt>
                <c:pt idx="169">
                  <c:v>36743</c:v>
                </c:pt>
                <c:pt idx="170">
                  <c:v>36799</c:v>
                </c:pt>
                <c:pt idx="171">
                  <c:v>36861</c:v>
                </c:pt>
                <c:pt idx="172">
                  <c:v>36885</c:v>
                </c:pt>
                <c:pt idx="173">
                  <c:v>36908</c:v>
                </c:pt>
                <c:pt idx="174">
                  <c:v>37070</c:v>
                </c:pt>
                <c:pt idx="175">
                  <c:v>37149</c:v>
                </c:pt>
                <c:pt idx="176">
                  <c:v>37217</c:v>
                </c:pt>
                <c:pt idx="177">
                  <c:v>37295</c:v>
                </c:pt>
                <c:pt idx="178">
                  <c:v>37380</c:v>
                </c:pt>
                <c:pt idx="179">
                  <c:v>37398</c:v>
                </c:pt>
                <c:pt idx="180">
                  <c:v>37410</c:v>
                </c:pt>
                <c:pt idx="181">
                  <c:v>37545</c:v>
                </c:pt>
                <c:pt idx="182">
                  <c:v>37612</c:v>
                </c:pt>
                <c:pt idx="183">
                  <c:v>37714</c:v>
                </c:pt>
                <c:pt idx="184">
                  <c:v>37761</c:v>
                </c:pt>
                <c:pt idx="185">
                  <c:v>37812</c:v>
                </c:pt>
                <c:pt idx="186">
                  <c:v>37831</c:v>
                </c:pt>
                <c:pt idx="187">
                  <c:v>37846</c:v>
                </c:pt>
                <c:pt idx="188">
                  <c:v>37933</c:v>
                </c:pt>
                <c:pt idx="189">
                  <c:v>38047</c:v>
                </c:pt>
                <c:pt idx="190">
                  <c:v>38131</c:v>
                </c:pt>
                <c:pt idx="191">
                  <c:v>38169</c:v>
                </c:pt>
                <c:pt idx="192">
                  <c:v>38212</c:v>
                </c:pt>
                <c:pt idx="193">
                  <c:v>38232</c:v>
                </c:pt>
                <c:pt idx="194">
                  <c:v>38245</c:v>
                </c:pt>
                <c:pt idx="195">
                  <c:v>38306</c:v>
                </c:pt>
                <c:pt idx="196">
                  <c:v>38349</c:v>
                </c:pt>
                <c:pt idx="197">
                  <c:v>38379</c:v>
                </c:pt>
                <c:pt idx="198">
                  <c:v>38432</c:v>
                </c:pt>
                <c:pt idx="199">
                  <c:v>38470</c:v>
                </c:pt>
                <c:pt idx="200">
                  <c:v>38480</c:v>
                </c:pt>
                <c:pt idx="201">
                  <c:v>38488</c:v>
                </c:pt>
                <c:pt idx="202">
                  <c:v>38531</c:v>
                </c:pt>
                <c:pt idx="203">
                  <c:v>38577</c:v>
                </c:pt>
                <c:pt idx="204">
                  <c:v>38606</c:v>
                </c:pt>
                <c:pt idx="205">
                  <c:v>38645</c:v>
                </c:pt>
                <c:pt idx="206">
                  <c:v>38667</c:v>
                </c:pt>
                <c:pt idx="207">
                  <c:v>38673</c:v>
                </c:pt>
                <c:pt idx="208">
                  <c:v>38678</c:v>
                </c:pt>
                <c:pt idx="209">
                  <c:v>38718</c:v>
                </c:pt>
                <c:pt idx="210">
                  <c:v>38742</c:v>
                </c:pt>
                <c:pt idx="211">
                  <c:v>38764</c:v>
                </c:pt>
                <c:pt idx="212">
                  <c:v>38785</c:v>
                </c:pt>
                <c:pt idx="213">
                  <c:v>38791</c:v>
                </c:pt>
                <c:pt idx="214">
                  <c:v>38797</c:v>
                </c:pt>
                <c:pt idx="215">
                  <c:v>38801</c:v>
                </c:pt>
                <c:pt idx="216">
                  <c:v>38807</c:v>
                </c:pt>
                <c:pt idx="217">
                  <c:v>38834</c:v>
                </c:pt>
                <c:pt idx="218">
                  <c:v>38868</c:v>
                </c:pt>
                <c:pt idx="219">
                  <c:v>38885</c:v>
                </c:pt>
                <c:pt idx="220">
                  <c:v>38896</c:v>
                </c:pt>
                <c:pt idx="221">
                  <c:v>38901</c:v>
                </c:pt>
                <c:pt idx="222">
                  <c:v>38902</c:v>
                </c:pt>
                <c:pt idx="223">
                  <c:v>38911</c:v>
                </c:pt>
                <c:pt idx="224">
                  <c:v>38919</c:v>
                </c:pt>
                <c:pt idx="225">
                  <c:v>38924</c:v>
                </c:pt>
                <c:pt idx="226">
                  <c:v>38933</c:v>
                </c:pt>
                <c:pt idx="227">
                  <c:v>38940</c:v>
                </c:pt>
                <c:pt idx="228">
                  <c:v>38942</c:v>
                </c:pt>
                <c:pt idx="229">
                  <c:v>38944</c:v>
                </c:pt>
                <c:pt idx="230">
                  <c:v>38959</c:v>
                </c:pt>
                <c:pt idx="231">
                  <c:v>38966</c:v>
                </c:pt>
                <c:pt idx="232">
                  <c:v>38972</c:v>
                </c:pt>
                <c:pt idx="233">
                  <c:v>38985</c:v>
                </c:pt>
                <c:pt idx="234">
                  <c:v>38992</c:v>
                </c:pt>
                <c:pt idx="235">
                  <c:v>38994</c:v>
                </c:pt>
                <c:pt idx="236">
                  <c:v>38994</c:v>
                </c:pt>
                <c:pt idx="237">
                  <c:v>39002</c:v>
                </c:pt>
                <c:pt idx="238">
                  <c:v>39012</c:v>
                </c:pt>
                <c:pt idx="239">
                  <c:v>39015</c:v>
                </c:pt>
                <c:pt idx="240">
                  <c:v>39019</c:v>
                </c:pt>
                <c:pt idx="241">
                  <c:v>39025</c:v>
                </c:pt>
                <c:pt idx="242">
                  <c:v>39025</c:v>
                </c:pt>
                <c:pt idx="243">
                  <c:v>39026</c:v>
                </c:pt>
                <c:pt idx="244">
                  <c:v>39028</c:v>
                </c:pt>
                <c:pt idx="245">
                  <c:v>39030</c:v>
                </c:pt>
                <c:pt idx="246">
                  <c:v>39033</c:v>
                </c:pt>
                <c:pt idx="247">
                  <c:v>39038</c:v>
                </c:pt>
                <c:pt idx="248">
                  <c:v>39041</c:v>
                </c:pt>
                <c:pt idx="249">
                  <c:v>39042</c:v>
                </c:pt>
                <c:pt idx="250">
                  <c:v>39045</c:v>
                </c:pt>
                <c:pt idx="251">
                  <c:v>39051</c:v>
                </c:pt>
                <c:pt idx="252">
                  <c:v>39057</c:v>
                </c:pt>
                <c:pt idx="253">
                  <c:v>39057</c:v>
                </c:pt>
                <c:pt idx="254">
                  <c:v>39061</c:v>
                </c:pt>
                <c:pt idx="255">
                  <c:v>39065</c:v>
                </c:pt>
                <c:pt idx="256">
                  <c:v>39066</c:v>
                </c:pt>
                <c:pt idx="257">
                  <c:v>39066</c:v>
                </c:pt>
                <c:pt idx="258">
                  <c:v>39073</c:v>
                </c:pt>
                <c:pt idx="259">
                  <c:v>39077</c:v>
                </c:pt>
                <c:pt idx="260">
                  <c:v>39080</c:v>
                </c:pt>
                <c:pt idx="261">
                  <c:v>39083</c:v>
                </c:pt>
                <c:pt idx="262">
                  <c:v>39083</c:v>
                </c:pt>
                <c:pt idx="263">
                  <c:v>39083</c:v>
                </c:pt>
                <c:pt idx="264">
                  <c:v>39083</c:v>
                </c:pt>
                <c:pt idx="265">
                  <c:v>39087</c:v>
                </c:pt>
                <c:pt idx="266">
                  <c:v>39088</c:v>
                </c:pt>
                <c:pt idx="267">
                  <c:v>39089</c:v>
                </c:pt>
                <c:pt idx="268">
                  <c:v>39090</c:v>
                </c:pt>
                <c:pt idx="269">
                  <c:v>39090</c:v>
                </c:pt>
                <c:pt idx="270">
                  <c:v>39090</c:v>
                </c:pt>
                <c:pt idx="271">
                  <c:v>39090</c:v>
                </c:pt>
                <c:pt idx="272">
                  <c:v>39090</c:v>
                </c:pt>
                <c:pt idx="273">
                  <c:v>39090</c:v>
                </c:pt>
                <c:pt idx="274">
                  <c:v>39093</c:v>
                </c:pt>
                <c:pt idx="275">
                  <c:v>39095</c:v>
                </c:pt>
                <c:pt idx="276">
                  <c:v>39095</c:v>
                </c:pt>
                <c:pt idx="277">
                  <c:v>39095</c:v>
                </c:pt>
                <c:pt idx="278">
                  <c:v>39095</c:v>
                </c:pt>
                <c:pt idx="279">
                  <c:v>39095</c:v>
                </c:pt>
                <c:pt idx="280">
                  <c:v>39095</c:v>
                </c:pt>
                <c:pt idx="281">
                  <c:v>39095</c:v>
                </c:pt>
                <c:pt idx="282">
                  <c:v>39095</c:v>
                </c:pt>
                <c:pt idx="283">
                  <c:v>39096</c:v>
                </c:pt>
                <c:pt idx="284">
                  <c:v>39096</c:v>
                </c:pt>
                <c:pt idx="285">
                  <c:v>39096</c:v>
                </c:pt>
                <c:pt idx="286">
                  <c:v>39096</c:v>
                </c:pt>
                <c:pt idx="287">
                  <c:v>39096</c:v>
                </c:pt>
                <c:pt idx="288">
                  <c:v>39096</c:v>
                </c:pt>
                <c:pt idx="289">
                  <c:v>39097</c:v>
                </c:pt>
                <c:pt idx="290">
                  <c:v>39097</c:v>
                </c:pt>
                <c:pt idx="291">
                  <c:v>39097</c:v>
                </c:pt>
                <c:pt idx="292">
                  <c:v>39097</c:v>
                </c:pt>
                <c:pt idx="293">
                  <c:v>39097</c:v>
                </c:pt>
                <c:pt idx="294">
                  <c:v>39097</c:v>
                </c:pt>
                <c:pt idx="295">
                  <c:v>39098</c:v>
                </c:pt>
                <c:pt idx="296">
                  <c:v>39099</c:v>
                </c:pt>
                <c:pt idx="297">
                  <c:v>39099</c:v>
                </c:pt>
                <c:pt idx="298">
                  <c:v>39099</c:v>
                </c:pt>
                <c:pt idx="299">
                  <c:v>39099</c:v>
                </c:pt>
                <c:pt idx="300">
                  <c:v>39099</c:v>
                </c:pt>
                <c:pt idx="301">
                  <c:v>39099</c:v>
                </c:pt>
                <c:pt idx="302">
                  <c:v>39100</c:v>
                </c:pt>
                <c:pt idx="303">
                  <c:v>39101</c:v>
                </c:pt>
                <c:pt idx="304">
                  <c:v>39101</c:v>
                </c:pt>
                <c:pt idx="305">
                  <c:v>39101</c:v>
                </c:pt>
                <c:pt idx="306">
                  <c:v>39102</c:v>
                </c:pt>
                <c:pt idx="307">
                  <c:v>39102</c:v>
                </c:pt>
                <c:pt idx="308">
                  <c:v>39102</c:v>
                </c:pt>
                <c:pt idx="309">
                  <c:v>39102</c:v>
                </c:pt>
                <c:pt idx="310">
                  <c:v>39103</c:v>
                </c:pt>
                <c:pt idx="311">
                  <c:v>39103</c:v>
                </c:pt>
                <c:pt idx="312">
                  <c:v>39103</c:v>
                </c:pt>
                <c:pt idx="313">
                  <c:v>39104</c:v>
                </c:pt>
                <c:pt idx="314">
                  <c:v>39104</c:v>
                </c:pt>
                <c:pt idx="315">
                  <c:v>39104</c:v>
                </c:pt>
                <c:pt idx="316">
                  <c:v>39104</c:v>
                </c:pt>
                <c:pt idx="317">
                  <c:v>39104</c:v>
                </c:pt>
                <c:pt idx="318">
                  <c:v>39104</c:v>
                </c:pt>
                <c:pt idx="319">
                  <c:v>39104</c:v>
                </c:pt>
                <c:pt idx="320">
                  <c:v>39104</c:v>
                </c:pt>
                <c:pt idx="321">
                  <c:v>39104</c:v>
                </c:pt>
                <c:pt idx="322">
                  <c:v>39104</c:v>
                </c:pt>
                <c:pt idx="323">
                  <c:v>39105</c:v>
                </c:pt>
                <c:pt idx="324">
                  <c:v>39105</c:v>
                </c:pt>
                <c:pt idx="325">
                  <c:v>39105</c:v>
                </c:pt>
                <c:pt idx="326">
                  <c:v>39106</c:v>
                </c:pt>
                <c:pt idx="327">
                  <c:v>39106</c:v>
                </c:pt>
                <c:pt idx="328">
                  <c:v>39106</c:v>
                </c:pt>
                <c:pt idx="329">
                  <c:v>39107</c:v>
                </c:pt>
                <c:pt idx="330">
                  <c:v>39109</c:v>
                </c:pt>
                <c:pt idx="331">
                  <c:v>39109</c:v>
                </c:pt>
                <c:pt idx="332">
                  <c:v>39109</c:v>
                </c:pt>
                <c:pt idx="333">
                  <c:v>39109</c:v>
                </c:pt>
                <c:pt idx="334">
                  <c:v>39109</c:v>
                </c:pt>
                <c:pt idx="335">
                  <c:v>39109</c:v>
                </c:pt>
                <c:pt idx="336">
                  <c:v>39109</c:v>
                </c:pt>
                <c:pt idx="337">
                  <c:v>39109</c:v>
                </c:pt>
                <c:pt idx="338">
                  <c:v>39109</c:v>
                </c:pt>
                <c:pt idx="339">
                  <c:v>39109</c:v>
                </c:pt>
                <c:pt idx="340">
                  <c:v>39109</c:v>
                </c:pt>
                <c:pt idx="341">
                  <c:v>39110</c:v>
                </c:pt>
                <c:pt idx="342">
                  <c:v>39110</c:v>
                </c:pt>
                <c:pt idx="343">
                  <c:v>39110</c:v>
                </c:pt>
                <c:pt idx="344">
                  <c:v>39111</c:v>
                </c:pt>
                <c:pt idx="345">
                  <c:v>39111</c:v>
                </c:pt>
                <c:pt idx="346">
                  <c:v>39111</c:v>
                </c:pt>
                <c:pt idx="347">
                  <c:v>39111</c:v>
                </c:pt>
                <c:pt idx="348">
                  <c:v>39111</c:v>
                </c:pt>
                <c:pt idx="349">
                  <c:v>39112</c:v>
                </c:pt>
                <c:pt idx="350">
                  <c:v>39113</c:v>
                </c:pt>
                <c:pt idx="351">
                  <c:v>39113</c:v>
                </c:pt>
                <c:pt idx="352">
                  <c:v>39114</c:v>
                </c:pt>
                <c:pt idx="353">
                  <c:v>39114</c:v>
                </c:pt>
                <c:pt idx="354">
                  <c:v>39114</c:v>
                </c:pt>
                <c:pt idx="355">
                  <c:v>39114</c:v>
                </c:pt>
                <c:pt idx="356">
                  <c:v>39117</c:v>
                </c:pt>
                <c:pt idx="357">
                  <c:v>39117</c:v>
                </c:pt>
                <c:pt idx="358">
                  <c:v>39117</c:v>
                </c:pt>
                <c:pt idx="359">
                  <c:v>39118</c:v>
                </c:pt>
                <c:pt idx="360">
                  <c:v>39119</c:v>
                </c:pt>
                <c:pt idx="361">
                  <c:v>39120</c:v>
                </c:pt>
                <c:pt idx="362">
                  <c:v>39120</c:v>
                </c:pt>
                <c:pt idx="363">
                  <c:v>39120</c:v>
                </c:pt>
                <c:pt idx="364">
                  <c:v>39120</c:v>
                </c:pt>
                <c:pt idx="365">
                  <c:v>39123</c:v>
                </c:pt>
                <c:pt idx="366">
                  <c:v>39128</c:v>
                </c:pt>
                <c:pt idx="367">
                  <c:v>39131</c:v>
                </c:pt>
                <c:pt idx="368">
                  <c:v>39132</c:v>
                </c:pt>
                <c:pt idx="369">
                  <c:v>39132</c:v>
                </c:pt>
                <c:pt idx="370">
                  <c:v>39137</c:v>
                </c:pt>
                <c:pt idx="371">
                  <c:v>39139</c:v>
                </c:pt>
                <c:pt idx="372">
                  <c:v>39140</c:v>
                </c:pt>
                <c:pt idx="373">
                  <c:v>39142</c:v>
                </c:pt>
                <c:pt idx="374">
                  <c:v>39142</c:v>
                </c:pt>
                <c:pt idx="375">
                  <c:v>39142</c:v>
                </c:pt>
                <c:pt idx="376">
                  <c:v>39143</c:v>
                </c:pt>
                <c:pt idx="377">
                  <c:v>39144</c:v>
                </c:pt>
                <c:pt idx="378">
                  <c:v>39145</c:v>
                </c:pt>
                <c:pt idx="379">
                  <c:v>39145</c:v>
                </c:pt>
                <c:pt idx="380">
                  <c:v>39145</c:v>
                </c:pt>
                <c:pt idx="381">
                  <c:v>39145</c:v>
                </c:pt>
                <c:pt idx="382">
                  <c:v>39146</c:v>
                </c:pt>
                <c:pt idx="383">
                  <c:v>39146</c:v>
                </c:pt>
                <c:pt idx="384">
                  <c:v>39151</c:v>
                </c:pt>
                <c:pt idx="385">
                  <c:v>39158</c:v>
                </c:pt>
                <c:pt idx="386">
                  <c:v>39161</c:v>
                </c:pt>
                <c:pt idx="387">
                  <c:v>39161</c:v>
                </c:pt>
                <c:pt idx="388">
                  <c:v>39161</c:v>
                </c:pt>
                <c:pt idx="389">
                  <c:v>39162</c:v>
                </c:pt>
                <c:pt idx="390">
                  <c:v>39163</c:v>
                </c:pt>
                <c:pt idx="391">
                  <c:v>39170</c:v>
                </c:pt>
                <c:pt idx="392">
                  <c:v>39172</c:v>
                </c:pt>
                <c:pt idx="393">
                  <c:v>39180</c:v>
                </c:pt>
                <c:pt idx="394">
                  <c:v>39183</c:v>
                </c:pt>
                <c:pt idx="395">
                  <c:v>39186</c:v>
                </c:pt>
                <c:pt idx="396">
                  <c:v>39187</c:v>
                </c:pt>
                <c:pt idx="397">
                  <c:v>39188</c:v>
                </c:pt>
                <c:pt idx="398">
                  <c:v>39193</c:v>
                </c:pt>
                <c:pt idx="399">
                  <c:v>39200</c:v>
                </c:pt>
                <c:pt idx="400">
                  <c:v>39213</c:v>
                </c:pt>
                <c:pt idx="401">
                  <c:v>39216</c:v>
                </c:pt>
                <c:pt idx="402">
                  <c:v>39243</c:v>
                </c:pt>
                <c:pt idx="403">
                  <c:v>39245</c:v>
                </c:pt>
                <c:pt idx="404">
                  <c:v>39245</c:v>
                </c:pt>
                <c:pt idx="405">
                  <c:v>39248</c:v>
                </c:pt>
                <c:pt idx="406">
                  <c:v>39251</c:v>
                </c:pt>
                <c:pt idx="407">
                  <c:v>39272</c:v>
                </c:pt>
                <c:pt idx="408">
                  <c:v>39278</c:v>
                </c:pt>
                <c:pt idx="409">
                  <c:v>39286</c:v>
                </c:pt>
                <c:pt idx="410">
                  <c:v>39288</c:v>
                </c:pt>
                <c:pt idx="411">
                  <c:v>39289</c:v>
                </c:pt>
                <c:pt idx="412">
                  <c:v>39307</c:v>
                </c:pt>
                <c:pt idx="413">
                  <c:v>39319</c:v>
                </c:pt>
                <c:pt idx="414">
                  <c:v>39332</c:v>
                </c:pt>
                <c:pt idx="415">
                  <c:v>39341</c:v>
                </c:pt>
                <c:pt idx="416">
                  <c:v>39356</c:v>
                </c:pt>
                <c:pt idx="417">
                  <c:v>39357</c:v>
                </c:pt>
                <c:pt idx="418">
                  <c:v>39361</c:v>
                </c:pt>
                <c:pt idx="419">
                  <c:v>39394</c:v>
                </c:pt>
                <c:pt idx="420">
                  <c:v>39408</c:v>
                </c:pt>
                <c:pt idx="421">
                  <c:v>39436</c:v>
                </c:pt>
                <c:pt idx="422">
                  <c:v>39439</c:v>
                </c:pt>
                <c:pt idx="423">
                  <c:v>39465</c:v>
                </c:pt>
                <c:pt idx="424">
                  <c:v>39477</c:v>
                </c:pt>
                <c:pt idx="425">
                  <c:v>39492</c:v>
                </c:pt>
                <c:pt idx="426">
                  <c:v>39567</c:v>
                </c:pt>
                <c:pt idx="427">
                  <c:v>39605</c:v>
                </c:pt>
                <c:pt idx="428">
                  <c:v>39640</c:v>
                </c:pt>
                <c:pt idx="429">
                  <c:v>39716</c:v>
                </c:pt>
                <c:pt idx="430">
                  <c:v>39766</c:v>
                </c:pt>
                <c:pt idx="431">
                  <c:v>39785</c:v>
                </c:pt>
                <c:pt idx="432">
                  <c:v>39795</c:v>
                </c:pt>
                <c:pt idx="433">
                  <c:v>39874</c:v>
                </c:pt>
                <c:pt idx="434">
                  <c:v>39928</c:v>
                </c:pt>
                <c:pt idx="435">
                  <c:v>39972</c:v>
                </c:pt>
                <c:pt idx="436">
                  <c:v>40025</c:v>
                </c:pt>
                <c:pt idx="437">
                  <c:v>40076</c:v>
                </c:pt>
                <c:pt idx="438">
                  <c:v>40109</c:v>
                </c:pt>
                <c:pt idx="439">
                  <c:v>40137</c:v>
                </c:pt>
                <c:pt idx="440">
                  <c:v>40235</c:v>
                </c:pt>
                <c:pt idx="441">
                  <c:v>40300</c:v>
                </c:pt>
                <c:pt idx="442">
                  <c:v>40336</c:v>
                </c:pt>
                <c:pt idx="443">
                  <c:v>40433</c:v>
                </c:pt>
                <c:pt idx="444">
                  <c:v>40569</c:v>
                </c:pt>
                <c:pt idx="445">
                  <c:v>40606</c:v>
                </c:pt>
                <c:pt idx="446">
                  <c:v>40622</c:v>
                </c:pt>
                <c:pt idx="447">
                  <c:v>40738</c:v>
                </c:pt>
                <c:pt idx="448">
                  <c:v>40805</c:v>
                </c:pt>
                <c:pt idx="449">
                  <c:v>40891</c:v>
                </c:pt>
                <c:pt idx="450">
                  <c:v>40967</c:v>
                </c:pt>
                <c:pt idx="451">
                  <c:v>41066</c:v>
                </c:pt>
                <c:pt idx="452">
                  <c:v>41090</c:v>
                </c:pt>
                <c:pt idx="453">
                  <c:v>41105</c:v>
                </c:pt>
                <c:pt idx="454">
                  <c:v>41181</c:v>
                </c:pt>
                <c:pt idx="455">
                  <c:v>41235</c:v>
                </c:pt>
                <c:pt idx="456">
                  <c:v>41299</c:v>
                </c:pt>
                <c:pt idx="457">
                  <c:v>41362</c:v>
                </c:pt>
                <c:pt idx="458">
                  <c:v>41409</c:v>
                </c:pt>
                <c:pt idx="459">
                  <c:v>41475</c:v>
                </c:pt>
                <c:pt idx="460">
                  <c:v>41489</c:v>
                </c:pt>
                <c:pt idx="461">
                  <c:v>41557</c:v>
                </c:pt>
                <c:pt idx="462">
                  <c:v>41618</c:v>
                </c:pt>
                <c:pt idx="463">
                  <c:v>41678</c:v>
                </c:pt>
                <c:pt idx="464">
                  <c:v>41748</c:v>
                </c:pt>
                <c:pt idx="465">
                  <c:v>41792</c:v>
                </c:pt>
                <c:pt idx="466">
                  <c:v>41811</c:v>
                </c:pt>
                <c:pt idx="467">
                  <c:v>41818</c:v>
                </c:pt>
                <c:pt idx="468">
                  <c:v>41848</c:v>
                </c:pt>
                <c:pt idx="469">
                  <c:v>41912</c:v>
                </c:pt>
                <c:pt idx="470">
                  <c:v>41956</c:v>
                </c:pt>
                <c:pt idx="471">
                  <c:v>41989</c:v>
                </c:pt>
                <c:pt idx="472">
                  <c:v>42019</c:v>
                </c:pt>
                <c:pt idx="473">
                  <c:v>42020</c:v>
                </c:pt>
                <c:pt idx="474">
                  <c:v>420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C3-4558-95C0-65D81E5CA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evale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476</c:f>
              <c:numCache>
                <c:formatCode>m/d/yyyy</c:formatCode>
                <c:ptCount val="4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</c:numCache>
            </c:numRef>
          </c:cat>
          <c:val>
            <c:numRef>
              <c:f>List1!$B$2:$B$476</c:f>
              <c:numCache>
                <c:formatCode>General</c:formatCode>
                <c:ptCount val="475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7</c:v>
                </c:pt>
                <c:pt idx="9">
                  <c:v>6</c:v>
                </c:pt>
                <c:pt idx="10">
                  <c:v>6</c:v>
                </c:pt>
                <c:pt idx="11">
                  <c:v>9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4</c:v>
                </c:pt>
                <c:pt idx="24">
                  <c:v>2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11</c:v>
                </c:pt>
                <c:pt idx="29">
                  <c:v>38</c:v>
                </c:pt>
                <c:pt idx="30">
                  <c:v>67</c:v>
                </c:pt>
                <c:pt idx="31">
                  <c:v>122</c:v>
                </c:pt>
                <c:pt idx="32">
                  <c:v>157</c:v>
                </c:pt>
                <c:pt idx="33">
                  <c:v>209</c:v>
                </c:pt>
                <c:pt idx="34">
                  <c:v>366</c:v>
                </c:pt>
                <c:pt idx="35">
                  <c:v>437</c:v>
                </c:pt>
                <c:pt idx="36">
                  <c:v>475</c:v>
                </c:pt>
                <c:pt idx="37">
                  <c:v>543</c:v>
                </c:pt>
                <c:pt idx="38">
                  <c:v>675</c:v>
                </c:pt>
                <c:pt idx="39">
                  <c:v>695</c:v>
                </c:pt>
                <c:pt idx="40">
                  <c:v>662</c:v>
                </c:pt>
                <c:pt idx="41">
                  <c:v>775</c:v>
                </c:pt>
                <c:pt idx="42">
                  <c:v>945</c:v>
                </c:pt>
                <c:pt idx="43">
                  <c:v>1075</c:v>
                </c:pt>
                <c:pt idx="44">
                  <c:v>1243</c:v>
                </c:pt>
                <c:pt idx="45">
                  <c:v>1371</c:v>
                </c:pt>
                <c:pt idx="46">
                  <c:v>1447</c:v>
                </c:pt>
                <c:pt idx="47">
                  <c:v>1401</c:v>
                </c:pt>
                <c:pt idx="48">
                  <c:v>1571</c:v>
                </c:pt>
                <c:pt idx="49">
                  <c:v>1684</c:v>
                </c:pt>
                <c:pt idx="50">
                  <c:v>1962</c:v>
                </c:pt>
                <c:pt idx="51">
                  <c:v>2119</c:v>
                </c:pt>
                <c:pt idx="52">
                  <c:v>2404</c:v>
                </c:pt>
                <c:pt idx="53">
                  <c:v>2486</c:v>
                </c:pt>
                <c:pt idx="54">
                  <c:v>2529</c:v>
                </c:pt>
                <c:pt idx="55">
                  <c:v>2710</c:v>
                </c:pt>
                <c:pt idx="56">
                  <c:v>3039</c:v>
                </c:pt>
                <c:pt idx="57">
                  <c:v>3065</c:v>
                </c:pt>
                <c:pt idx="58">
                  <c:v>3504</c:v>
                </c:pt>
                <c:pt idx="59">
                  <c:v>3800</c:v>
                </c:pt>
                <c:pt idx="60">
                  <c:v>3888</c:v>
                </c:pt>
                <c:pt idx="61">
                  <c:v>3782</c:v>
                </c:pt>
                <c:pt idx="62">
                  <c:v>3844</c:v>
                </c:pt>
                <c:pt idx="63">
                  <c:v>3772</c:v>
                </c:pt>
                <c:pt idx="64">
                  <c:v>3983</c:v>
                </c:pt>
                <c:pt idx="65">
                  <c:v>4312</c:v>
                </c:pt>
                <c:pt idx="66">
                  <c:v>4170</c:v>
                </c:pt>
                <c:pt idx="67">
                  <c:v>3821</c:v>
                </c:pt>
                <c:pt idx="68">
                  <c:v>3739</c:v>
                </c:pt>
                <c:pt idx="69">
                  <c:v>3495</c:v>
                </c:pt>
                <c:pt idx="70">
                  <c:v>3375</c:v>
                </c:pt>
                <c:pt idx="71">
                  <c:v>3794</c:v>
                </c:pt>
                <c:pt idx="72">
                  <c:v>4174</c:v>
                </c:pt>
                <c:pt idx="73">
                  <c:v>4222</c:v>
                </c:pt>
                <c:pt idx="74">
                  <c:v>3879</c:v>
                </c:pt>
                <c:pt idx="75">
                  <c:v>3766</c:v>
                </c:pt>
                <c:pt idx="76">
                  <c:v>3779</c:v>
                </c:pt>
                <c:pt idx="77">
                  <c:v>3564</c:v>
                </c:pt>
                <c:pt idx="78">
                  <c:v>3752</c:v>
                </c:pt>
                <c:pt idx="79">
                  <c:v>3902</c:v>
                </c:pt>
                <c:pt idx="80">
                  <c:v>3958</c:v>
                </c:pt>
                <c:pt idx="81">
                  <c:v>3579</c:v>
                </c:pt>
                <c:pt idx="82">
                  <c:v>3304</c:v>
                </c:pt>
                <c:pt idx="83">
                  <c:v>3428</c:v>
                </c:pt>
                <c:pt idx="84">
                  <c:v>3143</c:v>
                </c:pt>
                <c:pt idx="85">
                  <c:v>3136</c:v>
                </c:pt>
                <c:pt idx="86">
                  <c:v>3229</c:v>
                </c:pt>
                <c:pt idx="87">
                  <c:v>2993</c:v>
                </c:pt>
                <c:pt idx="88">
                  <c:v>2961</c:v>
                </c:pt>
                <c:pt idx="89">
                  <c:v>2703</c:v>
                </c:pt>
                <c:pt idx="90">
                  <c:v>2605</c:v>
                </c:pt>
                <c:pt idx="91">
                  <c:v>2419</c:v>
                </c:pt>
                <c:pt idx="92">
                  <c:v>2451</c:v>
                </c:pt>
                <c:pt idx="93">
                  <c:v>2508</c:v>
                </c:pt>
                <c:pt idx="94">
                  <c:v>2398</c:v>
                </c:pt>
                <c:pt idx="95">
                  <c:v>2231</c:v>
                </c:pt>
                <c:pt idx="96">
                  <c:v>2077</c:v>
                </c:pt>
                <c:pt idx="97">
                  <c:v>2029</c:v>
                </c:pt>
                <c:pt idx="98">
                  <c:v>1884</c:v>
                </c:pt>
                <c:pt idx="99">
                  <c:v>1939</c:v>
                </c:pt>
                <c:pt idx="100">
                  <c:v>1989</c:v>
                </c:pt>
                <c:pt idx="101">
                  <c:v>1977</c:v>
                </c:pt>
                <c:pt idx="102">
                  <c:v>1884</c:v>
                </c:pt>
                <c:pt idx="103">
                  <c:v>1837</c:v>
                </c:pt>
                <c:pt idx="104">
                  <c:v>1846</c:v>
                </c:pt>
                <c:pt idx="105">
                  <c:v>1826</c:v>
                </c:pt>
                <c:pt idx="106">
                  <c:v>1827</c:v>
                </c:pt>
                <c:pt idx="107">
                  <c:v>1832</c:v>
                </c:pt>
                <c:pt idx="108">
                  <c:v>1883</c:v>
                </c:pt>
                <c:pt idx="109">
                  <c:v>1754</c:v>
                </c:pt>
                <c:pt idx="110">
                  <c:v>1687</c:v>
                </c:pt>
                <c:pt idx="111">
                  <c:v>1736</c:v>
                </c:pt>
                <c:pt idx="112">
                  <c:v>1749</c:v>
                </c:pt>
                <c:pt idx="113">
                  <c:v>1772</c:v>
                </c:pt>
                <c:pt idx="114">
                  <c:v>1738</c:v>
                </c:pt>
                <c:pt idx="115">
                  <c:v>1637</c:v>
                </c:pt>
                <c:pt idx="116">
                  <c:v>1612</c:v>
                </c:pt>
                <c:pt idx="117">
                  <c:v>1612</c:v>
                </c:pt>
                <c:pt idx="118">
                  <c:v>1657</c:v>
                </c:pt>
                <c:pt idx="119">
                  <c:v>1704</c:v>
                </c:pt>
                <c:pt idx="120">
                  <c:v>1802</c:v>
                </c:pt>
                <c:pt idx="121">
                  <c:v>1884</c:v>
                </c:pt>
                <c:pt idx="122">
                  <c:v>1750</c:v>
                </c:pt>
                <c:pt idx="123">
                  <c:v>1716</c:v>
                </c:pt>
                <c:pt idx="124">
                  <c:v>1550</c:v>
                </c:pt>
                <c:pt idx="125">
                  <c:v>1782</c:v>
                </c:pt>
                <c:pt idx="126">
                  <c:v>1870</c:v>
                </c:pt>
                <c:pt idx="127">
                  <c:v>1958</c:v>
                </c:pt>
                <c:pt idx="128">
                  <c:v>2100</c:v>
                </c:pt>
                <c:pt idx="129">
                  <c:v>2102</c:v>
                </c:pt>
                <c:pt idx="130">
                  <c:v>1969</c:v>
                </c:pt>
                <c:pt idx="131">
                  <c:v>1822</c:v>
                </c:pt>
                <c:pt idx="132">
                  <c:v>1963</c:v>
                </c:pt>
                <c:pt idx="133">
                  <c:v>2027</c:v>
                </c:pt>
                <c:pt idx="134">
                  <c:v>2130</c:v>
                </c:pt>
                <c:pt idx="135">
                  <c:v>2177</c:v>
                </c:pt>
                <c:pt idx="136">
                  <c:v>2093</c:v>
                </c:pt>
                <c:pt idx="137">
                  <c:v>1898</c:v>
                </c:pt>
                <c:pt idx="138">
                  <c:v>1742</c:v>
                </c:pt>
                <c:pt idx="139">
                  <c:v>1682</c:v>
                </c:pt>
                <c:pt idx="140">
                  <c:v>1569</c:v>
                </c:pt>
                <c:pt idx="141">
                  <c:v>1654</c:v>
                </c:pt>
                <c:pt idx="142">
                  <c:v>1724</c:v>
                </c:pt>
                <c:pt idx="143">
                  <c:v>1594</c:v>
                </c:pt>
                <c:pt idx="144">
                  <c:v>1529</c:v>
                </c:pt>
                <c:pt idx="145">
                  <c:v>1429</c:v>
                </c:pt>
                <c:pt idx="146">
                  <c:v>1389</c:v>
                </c:pt>
                <c:pt idx="147">
                  <c:v>1335</c:v>
                </c:pt>
                <c:pt idx="148">
                  <c:v>1387</c:v>
                </c:pt>
                <c:pt idx="149">
                  <c:v>1423</c:v>
                </c:pt>
                <c:pt idx="150">
                  <c:v>1281</c:v>
                </c:pt>
                <c:pt idx="151">
                  <c:v>1238</c:v>
                </c:pt>
                <c:pt idx="152">
                  <c:v>1101</c:v>
                </c:pt>
                <c:pt idx="153">
                  <c:v>1128</c:v>
                </c:pt>
                <c:pt idx="154">
                  <c:v>1151</c:v>
                </c:pt>
                <c:pt idx="155">
                  <c:v>1206</c:v>
                </c:pt>
                <c:pt idx="156">
                  <c:v>1235</c:v>
                </c:pt>
                <c:pt idx="157">
                  <c:v>1206</c:v>
                </c:pt>
                <c:pt idx="158">
                  <c:v>1144</c:v>
                </c:pt>
                <c:pt idx="159">
                  <c:v>1090</c:v>
                </c:pt>
                <c:pt idx="160">
                  <c:v>1105</c:v>
                </c:pt>
                <c:pt idx="161">
                  <c:v>1099</c:v>
                </c:pt>
                <c:pt idx="162">
                  <c:v>1138</c:v>
                </c:pt>
                <c:pt idx="163">
                  <c:v>1184</c:v>
                </c:pt>
                <c:pt idx="164">
                  <c:v>1149</c:v>
                </c:pt>
                <c:pt idx="165">
                  <c:v>1028</c:v>
                </c:pt>
                <c:pt idx="166">
                  <c:v>936</c:v>
                </c:pt>
                <c:pt idx="167">
                  <c:v>915</c:v>
                </c:pt>
                <c:pt idx="168">
                  <c:v>830</c:v>
                </c:pt>
                <c:pt idx="169">
                  <c:v>809</c:v>
                </c:pt>
                <c:pt idx="170">
                  <c:v>823</c:v>
                </c:pt>
                <c:pt idx="171">
                  <c:v>764</c:v>
                </c:pt>
                <c:pt idx="172">
                  <c:v>703</c:v>
                </c:pt>
                <c:pt idx="173">
                  <c:v>631</c:v>
                </c:pt>
                <c:pt idx="174">
                  <c:v>674</c:v>
                </c:pt>
                <c:pt idx="175">
                  <c:v>648</c:v>
                </c:pt>
                <c:pt idx="176">
                  <c:v>659</c:v>
                </c:pt>
                <c:pt idx="177">
                  <c:v>689</c:v>
                </c:pt>
                <c:pt idx="178">
                  <c:v>677</c:v>
                </c:pt>
                <c:pt idx="179">
                  <c:v>645</c:v>
                </c:pt>
                <c:pt idx="180">
                  <c:v>626</c:v>
                </c:pt>
                <c:pt idx="181">
                  <c:v>674</c:v>
                </c:pt>
                <c:pt idx="182">
                  <c:v>640</c:v>
                </c:pt>
                <c:pt idx="183">
                  <c:v>647</c:v>
                </c:pt>
                <c:pt idx="184">
                  <c:v>639</c:v>
                </c:pt>
                <c:pt idx="185">
                  <c:v>573</c:v>
                </c:pt>
                <c:pt idx="186">
                  <c:v>544</c:v>
                </c:pt>
                <c:pt idx="187">
                  <c:v>500</c:v>
                </c:pt>
                <c:pt idx="188">
                  <c:v>495</c:v>
                </c:pt>
                <c:pt idx="189">
                  <c:v>516</c:v>
                </c:pt>
                <c:pt idx="190">
                  <c:v>557</c:v>
                </c:pt>
                <c:pt idx="191">
                  <c:v>556</c:v>
                </c:pt>
                <c:pt idx="192">
                  <c:v>577</c:v>
                </c:pt>
                <c:pt idx="193">
                  <c:v>574</c:v>
                </c:pt>
                <c:pt idx="194">
                  <c:v>574</c:v>
                </c:pt>
                <c:pt idx="195">
                  <c:v>595</c:v>
                </c:pt>
                <c:pt idx="196">
                  <c:v>531</c:v>
                </c:pt>
                <c:pt idx="197">
                  <c:v>510</c:v>
                </c:pt>
                <c:pt idx="198">
                  <c:v>497</c:v>
                </c:pt>
                <c:pt idx="199">
                  <c:v>497</c:v>
                </c:pt>
                <c:pt idx="200">
                  <c:v>477</c:v>
                </c:pt>
                <c:pt idx="201">
                  <c:v>476</c:v>
                </c:pt>
                <c:pt idx="202">
                  <c:v>482</c:v>
                </c:pt>
                <c:pt idx="203">
                  <c:v>482</c:v>
                </c:pt>
                <c:pt idx="204">
                  <c:v>448</c:v>
                </c:pt>
                <c:pt idx="205">
                  <c:v>444</c:v>
                </c:pt>
                <c:pt idx="206">
                  <c:v>426</c:v>
                </c:pt>
                <c:pt idx="207">
                  <c:v>392</c:v>
                </c:pt>
                <c:pt idx="208">
                  <c:v>391</c:v>
                </c:pt>
                <c:pt idx="209">
                  <c:v>403</c:v>
                </c:pt>
                <c:pt idx="210">
                  <c:v>371</c:v>
                </c:pt>
                <c:pt idx="211">
                  <c:v>362</c:v>
                </c:pt>
                <c:pt idx="212">
                  <c:v>347</c:v>
                </c:pt>
                <c:pt idx="213">
                  <c:v>318</c:v>
                </c:pt>
                <c:pt idx="214">
                  <c:v>308</c:v>
                </c:pt>
                <c:pt idx="215">
                  <c:v>307</c:v>
                </c:pt>
                <c:pt idx="216">
                  <c:v>305</c:v>
                </c:pt>
                <c:pt idx="217">
                  <c:v>275</c:v>
                </c:pt>
                <c:pt idx="218">
                  <c:v>272</c:v>
                </c:pt>
                <c:pt idx="219">
                  <c:v>257</c:v>
                </c:pt>
                <c:pt idx="220">
                  <c:v>228</c:v>
                </c:pt>
                <c:pt idx="221">
                  <c:v>223</c:v>
                </c:pt>
                <c:pt idx="222">
                  <c:v>222</c:v>
                </c:pt>
                <c:pt idx="223">
                  <c:v>222</c:v>
                </c:pt>
                <c:pt idx="224">
                  <c:v>211</c:v>
                </c:pt>
                <c:pt idx="225">
                  <c:v>189</c:v>
                </c:pt>
                <c:pt idx="226">
                  <c:v>179</c:v>
                </c:pt>
                <c:pt idx="227">
                  <c:v>165</c:v>
                </c:pt>
                <c:pt idx="228">
                  <c:v>163</c:v>
                </c:pt>
                <c:pt idx="229">
                  <c:v>164</c:v>
                </c:pt>
                <c:pt idx="230">
                  <c:v>168</c:v>
                </c:pt>
                <c:pt idx="231">
                  <c:v>162</c:v>
                </c:pt>
                <c:pt idx="232">
                  <c:v>155</c:v>
                </c:pt>
                <c:pt idx="233">
                  <c:v>154</c:v>
                </c:pt>
                <c:pt idx="234">
                  <c:v>156</c:v>
                </c:pt>
                <c:pt idx="235">
                  <c:v>150</c:v>
                </c:pt>
                <c:pt idx="236">
                  <c:v>149</c:v>
                </c:pt>
                <c:pt idx="237">
                  <c:v>149</c:v>
                </c:pt>
                <c:pt idx="238">
                  <c:v>147</c:v>
                </c:pt>
                <c:pt idx="239">
                  <c:v>146</c:v>
                </c:pt>
                <c:pt idx="240">
                  <c:v>145</c:v>
                </c:pt>
                <c:pt idx="241">
                  <c:v>145</c:v>
                </c:pt>
                <c:pt idx="242">
                  <c:v>139</c:v>
                </c:pt>
                <c:pt idx="243">
                  <c:v>139</c:v>
                </c:pt>
                <c:pt idx="244">
                  <c:v>139</c:v>
                </c:pt>
                <c:pt idx="245">
                  <c:v>136</c:v>
                </c:pt>
                <c:pt idx="246">
                  <c:v>132</c:v>
                </c:pt>
                <c:pt idx="247">
                  <c:v>126</c:v>
                </c:pt>
                <c:pt idx="248">
                  <c:v>125</c:v>
                </c:pt>
                <c:pt idx="249">
                  <c:v>119</c:v>
                </c:pt>
                <c:pt idx="250">
                  <c:v>122</c:v>
                </c:pt>
                <c:pt idx="251">
                  <c:v>126</c:v>
                </c:pt>
                <c:pt idx="252">
                  <c:v>126</c:v>
                </c:pt>
                <c:pt idx="253">
                  <c:v>123</c:v>
                </c:pt>
                <c:pt idx="254">
                  <c:v>122</c:v>
                </c:pt>
                <c:pt idx="255">
                  <c:v>121</c:v>
                </c:pt>
                <c:pt idx="256">
                  <c:v>119</c:v>
                </c:pt>
                <c:pt idx="257">
                  <c:v>118</c:v>
                </c:pt>
                <c:pt idx="258">
                  <c:v>120</c:v>
                </c:pt>
                <c:pt idx="259">
                  <c:v>116</c:v>
                </c:pt>
                <c:pt idx="260">
                  <c:v>118</c:v>
                </c:pt>
                <c:pt idx="261">
                  <c:v>115</c:v>
                </c:pt>
                <c:pt idx="262">
                  <c:v>115</c:v>
                </c:pt>
                <c:pt idx="263">
                  <c:v>114</c:v>
                </c:pt>
                <c:pt idx="264">
                  <c:v>113</c:v>
                </c:pt>
                <c:pt idx="265">
                  <c:v>114</c:v>
                </c:pt>
                <c:pt idx="266">
                  <c:v>113</c:v>
                </c:pt>
                <c:pt idx="267">
                  <c:v>112</c:v>
                </c:pt>
                <c:pt idx="268">
                  <c:v>110</c:v>
                </c:pt>
                <c:pt idx="269">
                  <c:v>109</c:v>
                </c:pt>
                <c:pt idx="270">
                  <c:v>109</c:v>
                </c:pt>
                <c:pt idx="271">
                  <c:v>106</c:v>
                </c:pt>
                <c:pt idx="272">
                  <c:v>105</c:v>
                </c:pt>
                <c:pt idx="273">
                  <c:v>104</c:v>
                </c:pt>
                <c:pt idx="274">
                  <c:v>107</c:v>
                </c:pt>
                <c:pt idx="275">
                  <c:v>103</c:v>
                </c:pt>
                <c:pt idx="276">
                  <c:v>99</c:v>
                </c:pt>
                <c:pt idx="277">
                  <c:v>98</c:v>
                </c:pt>
                <c:pt idx="278">
                  <c:v>98</c:v>
                </c:pt>
                <c:pt idx="279">
                  <c:v>98</c:v>
                </c:pt>
                <c:pt idx="280">
                  <c:v>98</c:v>
                </c:pt>
                <c:pt idx="281">
                  <c:v>97</c:v>
                </c:pt>
                <c:pt idx="282">
                  <c:v>96</c:v>
                </c:pt>
                <c:pt idx="283">
                  <c:v>97</c:v>
                </c:pt>
                <c:pt idx="284">
                  <c:v>94</c:v>
                </c:pt>
                <c:pt idx="285">
                  <c:v>94</c:v>
                </c:pt>
                <c:pt idx="286">
                  <c:v>94</c:v>
                </c:pt>
                <c:pt idx="287">
                  <c:v>94</c:v>
                </c:pt>
                <c:pt idx="288">
                  <c:v>94</c:v>
                </c:pt>
                <c:pt idx="289">
                  <c:v>94</c:v>
                </c:pt>
                <c:pt idx="290">
                  <c:v>94</c:v>
                </c:pt>
                <c:pt idx="291">
                  <c:v>94</c:v>
                </c:pt>
                <c:pt idx="292">
                  <c:v>94</c:v>
                </c:pt>
                <c:pt idx="293">
                  <c:v>94</c:v>
                </c:pt>
                <c:pt idx="294">
                  <c:v>94</c:v>
                </c:pt>
                <c:pt idx="295">
                  <c:v>95</c:v>
                </c:pt>
                <c:pt idx="296">
                  <c:v>95</c:v>
                </c:pt>
                <c:pt idx="297">
                  <c:v>94</c:v>
                </c:pt>
                <c:pt idx="298">
                  <c:v>94</c:v>
                </c:pt>
                <c:pt idx="299">
                  <c:v>94</c:v>
                </c:pt>
                <c:pt idx="300">
                  <c:v>94</c:v>
                </c:pt>
                <c:pt idx="301">
                  <c:v>94</c:v>
                </c:pt>
                <c:pt idx="302">
                  <c:v>93</c:v>
                </c:pt>
                <c:pt idx="303">
                  <c:v>94</c:v>
                </c:pt>
                <c:pt idx="304">
                  <c:v>92</c:v>
                </c:pt>
                <c:pt idx="305">
                  <c:v>92</c:v>
                </c:pt>
                <c:pt idx="306">
                  <c:v>93</c:v>
                </c:pt>
                <c:pt idx="307">
                  <c:v>93</c:v>
                </c:pt>
                <c:pt idx="308">
                  <c:v>93</c:v>
                </c:pt>
                <c:pt idx="309">
                  <c:v>93</c:v>
                </c:pt>
                <c:pt idx="310">
                  <c:v>92</c:v>
                </c:pt>
                <c:pt idx="311">
                  <c:v>92</c:v>
                </c:pt>
                <c:pt idx="312">
                  <c:v>92</c:v>
                </c:pt>
                <c:pt idx="313">
                  <c:v>92</c:v>
                </c:pt>
                <c:pt idx="314">
                  <c:v>92</c:v>
                </c:pt>
                <c:pt idx="315">
                  <c:v>92</c:v>
                </c:pt>
                <c:pt idx="316">
                  <c:v>92</c:v>
                </c:pt>
                <c:pt idx="317">
                  <c:v>92</c:v>
                </c:pt>
                <c:pt idx="318">
                  <c:v>92</c:v>
                </c:pt>
                <c:pt idx="319">
                  <c:v>92</c:v>
                </c:pt>
                <c:pt idx="320">
                  <c:v>92</c:v>
                </c:pt>
                <c:pt idx="321">
                  <c:v>92</c:v>
                </c:pt>
                <c:pt idx="322">
                  <c:v>91</c:v>
                </c:pt>
                <c:pt idx="323">
                  <c:v>91</c:v>
                </c:pt>
                <c:pt idx="324">
                  <c:v>91</c:v>
                </c:pt>
                <c:pt idx="325">
                  <c:v>91</c:v>
                </c:pt>
                <c:pt idx="326">
                  <c:v>92</c:v>
                </c:pt>
                <c:pt idx="327">
                  <c:v>91</c:v>
                </c:pt>
                <c:pt idx="328">
                  <c:v>91</c:v>
                </c:pt>
                <c:pt idx="329">
                  <c:v>91</c:v>
                </c:pt>
                <c:pt idx="330">
                  <c:v>91</c:v>
                </c:pt>
                <c:pt idx="331">
                  <c:v>91</c:v>
                </c:pt>
                <c:pt idx="332">
                  <c:v>90</c:v>
                </c:pt>
                <c:pt idx="333">
                  <c:v>90</c:v>
                </c:pt>
                <c:pt idx="334">
                  <c:v>90</c:v>
                </c:pt>
                <c:pt idx="335">
                  <c:v>90</c:v>
                </c:pt>
                <c:pt idx="336">
                  <c:v>89</c:v>
                </c:pt>
                <c:pt idx="337">
                  <c:v>89</c:v>
                </c:pt>
                <c:pt idx="338">
                  <c:v>89</c:v>
                </c:pt>
                <c:pt idx="339">
                  <c:v>89</c:v>
                </c:pt>
                <c:pt idx="340">
                  <c:v>89</c:v>
                </c:pt>
                <c:pt idx="341">
                  <c:v>89</c:v>
                </c:pt>
                <c:pt idx="342">
                  <c:v>89</c:v>
                </c:pt>
                <c:pt idx="343">
                  <c:v>89</c:v>
                </c:pt>
                <c:pt idx="344">
                  <c:v>89</c:v>
                </c:pt>
                <c:pt idx="345">
                  <c:v>89</c:v>
                </c:pt>
                <c:pt idx="346">
                  <c:v>89</c:v>
                </c:pt>
                <c:pt idx="347">
                  <c:v>89</c:v>
                </c:pt>
                <c:pt idx="348">
                  <c:v>89</c:v>
                </c:pt>
                <c:pt idx="349">
                  <c:v>90</c:v>
                </c:pt>
                <c:pt idx="350">
                  <c:v>91</c:v>
                </c:pt>
                <c:pt idx="351">
                  <c:v>91</c:v>
                </c:pt>
                <c:pt idx="352">
                  <c:v>92</c:v>
                </c:pt>
                <c:pt idx="353">
                  <c:v>91</c:v>
                </c:pt>
                <c:pt idx="354">
                  <c:v>91</c:v>
                </c:pt>
                <c:pt idx="355">
                  <c:v>91</c:v>
                </c:pt>
                <c:pt idx="356">
                  <c:v>93</c:v>
                </c:pt>
                <c:pt idx="357">
                  <c:v>93</c:v>
                </c:pt>
                <c:pt idx="358">
                  <c:v>93</c:v>
                </c:pt>
                <c:pt idx="359">
                  <c:v>93</c:v>
                </c:pt>
                <c:pt idx="360">
                  <c:v>93</c:v>
                </c:pt>
                <c:pt idx="361">
                  <c:v>92</c:v>
                </c:pt>
                <c:pt idx="362">
                  <c:v>92</c:v>
                </c:pt>
                <c:pt idx="363">
                  <c:v>92</c:v>
                </c:pt>
                <c:pt idx="364">
                  <c:v>92</c:v>
                </c:pt>
                <c:pt idx="365">
                  <c:v>93</c:v>
                </c:pt>
                <c:pt idx="366">
                  <c:v>97</c:v>
                </c:pt>
                <c:pt idx="367">
                  <c:v>99</c:v>
                </c:pt>
                <c:pt idx="368">
                  <c:v>100</c:v>
                </c:pt>
                <c:pt idx="369">
                  <c:v>99</c:v>
                </c:pt>
                <c:pt idx="370">
                  <c:v>103</c:v>
                </c:pt>
                <c:pt idx="371">
                  <c:v>100</c:v>
                </c:pt>
                <c:pt idx="372">
                  <c:v>100</c:v>
                </c:pt>
                <c:pt idx="373">
                  <c:v>100</c:v>
                </c:pt>
                <c:pt idx="374">
                  <c:v>100</c:v>
                </c:pt>
                <c:pt idx="375">
                  <c:v>100</c:v>
                </c:pt>
                <c:pt idx="376">
                  <c:v>100</c:v>
                </c:pt>
                <c:pt idx="377">
                  <c:v>101</c:v>
                </c:pt>
                <c:pt idx="378">
                  <c:v>101</c:v>
                </c:pt>
                <c:pt idx="379">
                  <c:v>101</c:v>
                </c:pt>
                <c:pt idx="380">
                  <c:v>100</c:v>
                </c:pt>
                <c:pt idx="381">
                  <c:v>98</c:v>
                </c:pt>
                <c:pt idx="382">
                  <c:v>98</c:v>
                </c:pt>
                <c:pt idx="383">
                  <c:v>98</c:v>
                </c:pt>
                <c:pt idx="384">
                  <c:v>99</c:v>
                </c:pt>
                <c:pt idx="385">
                  <c:v>96</c:v>
                </c:pt>
                <c:pt idx="386">
                  <c:v>96</c:v>
                </c:pt>
                <c:pt idx="387">
                  <c:v>94</c:v>
                </c:pt>
                <c:pt idx="388">
                  <c:v>94</c:v>
                </c:pt>
                <c:pt idx="389">
                  <c:v>94</c:v>
                </c:pt>
                <c:pt idx="390">
                  <c:v>94</c:v>
                </c:pt>
                <c:pt idx="391">
                  <c:v>96</c:v>
                </c:pt>
                <c:pt idx="392">
                  <c:v>94</c:v>
                </c:pt>
                <c:pt idx="393">
                  <c:v>95</c:v>
                </c:pt>
                <c:pt idx="394">
                  <c:v>95</c:v>
                </c:pt>
                <c:pt idx="395">
                  <c:v>96</c:v>
                </c:pt>
                <c:pt idx="396">
                  <c:v>97</c:v>
                </c:pt>
                <c:pt idx="397">
                  <c:v>98</c:v>
                </c:pt>
                <c:pt idx="398">
                  <c:v>100</c:v>
                </c:pt>
                <c:pt idx="399">
                  <c:v>102</c:v>
                </c:pt>
                <c:pt idx="400">
                  <c:v>110</c:v>
                </c:pt>
                <c:pt idx="401">
                  <c:v>109</c:v>
                </c:pt>
                <c:pt idx="402">
                  <c:v>134</c:v>
                </c:pt>
                <c:pt idx="403">
                  <c:v>134</c:v>
                </c:pt>
                <c:pt idx="404">
                  <c:v>134</c:v>
                </c:pt>
                <c:pt idx="405">
                  <c:v>135</c:v>
                </c:pt>
                <c:pt idx="406">
                  <c:v>135</c:v>
                </c:pt>
                <c:pt idx="407">
                  <c:v>154</c:v>
                </c:pt>
                <c:pt idx="408">
                  <c:v>156</c:v>
                </c:pt>
                <c:pt idx="409">
                  <c:v>156</c:v>
                </c:pt>
                <c:pt idx="410">
                  <c:v>156</c:v>
                </c:pt>
                <c:pt idx="411">
                  <c:v>155</c:v>
                </c:pt>
                <c:pt idx="412">
                  <c:v>159</c:v>
                </c:pt>
                <c:pt idx="413">
                  <c:v>159</c:v>
                </c:pt>
                <c:pt idx="414">
                  <c:v>154</c:v>
                </c:pt>
                <c:pt idx="415">
                  <c:v>154</c:v>
                </c:pt>
                <c:pt idx="416">
                  <c:v>137</c:v>
                </c:pt>
                <c:pt idx="417">
                  <c:v>136</c:v>
                </c:pt>
                <c:pt idx="418">
                  <c:v>134</c:v>
                </c:pt>
                <c:pt idx="419">
                  <c:v>147</c:v>
                </c:pt>
                <c:pt idx="420">
                  <c:v>155</c:v>
                </c:pt>
                <c:pt idx="421">
                  <c:v>163</c:v>
                </c:pt>
                <c:pt idx="422">
                  <c:v>147</c:v>
                </c:pt>
                <c:pt idx="423">
                  <c:v>165</c:v>
                </c:pt>
                <c:pt idx="424">
                  <c:v>168</c:v>
                </c:pt>
                <c:pt idx="425">
                  <c:v>177</c:v>
                </c:pt>
                <c:pt idx="426">
                  <c:v>212</c:v>
                </c:pt>
                <c:pt idx="427">
                  <c:v>222</c:v>
                </c:pt>
                <c:pt idx="428">
                  <c:v>227</c:v>
                </c:pt>
                <c:pt idx="429">
                  <c:v>274</c:v>
                </c:pt>
                <c:pt idx="430">
                  <c:v>293</c:v>
                </c:pt>
                <c:pt idx="431">
                  <c:v>287</c:v>
                </c:pt>
                <c:pt idx="432">
                  <c:v>286</c:v>
                </c:pt>
                <c:pt idx="433">
                  <c:v>310</c:v>
                </c:pt>
                <c:pt idx="434">
                  <c:v>323</c:v>
                </c:pt>
                <c:pt idx="435">
                  <c:v>329</c:v>
                </c:pt>
                <c:pt idx="436">
                  <c:v>338</c:v>
                </c:pt>
                <c:pt idx="437">
                  <c:v>350</c:v>
                </c:pt>
                <c:pt idx="438">
                  <c:v>348</c:v>
                </c:pt>
                <c:pt idx="439">
                  <c:v>353</c:v>
                </c:pt>
                <c:pt idx="440">
                  <c:v>383</c:v>
                </c:pt>
                <c:pt idx="441">
                  <c:v>385</c:v>
                </c:pt>
                <c:pt idx="442">
                  <c:v>387</c:v>
                </c:pt>
                <c:pt idx="443">
                  <c:v>418</c:v>
                </c:pt>
                <c:pt idx="444">
                  <c:v>473</c:v>
                </c:pt>
                <c:pt idx="445">
                  <c:v>477</c:v>
                </c:pt>
                <c:pt idx="446">
                  <c:v>475</c:v>
                </c:pt>
                <c:pt idx="447">
                  <c:v>515</c:v>
                </c:pt>
                <c:pt idx="448">
                  <c:v>502</c:v>
                </c:pt>
                <c:pt idx="449">
                  <c:v>510</c:v>
                </c:pt>
                <c:pt idx="450">
                  <c:v>511</c:v>
                </c:pt>
                <c:pt idx="451">
                  <c:v>542</c:v>
                </c:pt>
                <c:pt idx="452">
                  <c:v>525</c:v>
                </c:pt>
                <c:pt idx="453">
                  <c:v>525</c:v>
                </c:pt>
                <c:pt idx="454">
                  <c:v>551</c:v>
                </c:pt>
                <c:pt idx="455">
                  <c:v>523</c:v>
                </c:pt>
                <c:pt idx="456">
                  <c:v>494</c:v>
                </c:pt>
                <c:pt idx="457">
                  <c:v>493</c:v>
                </c:pt>
                <c:pt idx="458">
                  <c:v>389</c:v>
                </c:pt>
                <c:pt idx="459">
                  <c:v>411</c:v>
                </c:pt>
                <c:pt idx="460">
                  <c:v>391</c:v>
                </c:pt>
                <c:pt idx="461">
                  <c:v>404</c:v>
                </c:pt>
                <c:pt idx="462">
                  <c:v>373</c:v>
                </c:pt>
                <c:pt idx="463">
                  <c:v>371</c:v>
                </c:pt>
                <c:pt idx="464">
                  <c:v>358</c:v>
                </c:pt>
                <c:pt idx="465">
                  <c:v>311</c:v>
                </c:pt>
                <c:pt idx="466">
                  <c:v>292</c:v>
                </c:pt>
                <c:pt idx="467">
                  <c:v>289</c:v>
                </c:pt>
                <c:pt idx="468">
                  <c:v>294</c:v>
                </c:pt>
                <c:pt idx="469">
                  <c:v>277</c:v>
                </c:pt>
                <c:pt idx="470">
                  <c:v>258</c:v>
                </c:pt>
                <c:pt idx="471">
                  <c:v>244</c:v>
                </c:pt>
                <c:pt idx="472">
                  <c:v>251</c:v>
                </c:pt>
                <c:pt idx="473">
                  <c:v>219</c:v>
                </c:pt>
                <c:pt idx="474">
                  <c:v>2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C7-418F-9894-CC9725FB542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476</c:f>
              <c:numCache>
                <c:formatCode>m/d/yyyy</c:formatCode>
                <c:ptCount val="4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</c:numCache>
            </c:numRef>
          </c:cat>
          <c:val>
            <c:numRef>
              <c:f>List1!$C$2:$C$476</c:f>
              <c:numCache>
                <c:formatCode>General</c:formatCode>
                <c:ptCount val="47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2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8</c:v>
                </c:pt>
                <c:pt idx="18">
                  <c:v>8</c:v>
                </c:pt>
                <c:pt idx="19">
                  <c:v>11</c:v>
                </c:pt>
                <c:pt idx="20">
                  <c:v>12</c:v>
                </c:pt>
                <c:pt idx="21">
                  <c:v>13</c:v>
                </c:pt>
                <c:pt idx="22">
                  <c:v>13</c:v>
                </c:pt>
                <c:pt idx="23">
                  <c:v>17</c:v>
                </c:pt>
                <c:pt idx="24">
                  <c:v>28</c:v>
                </c:pt>
                <c:pt idx="25">
                  <c:v>32</c:v>
                </c:pt>
                <c:pt idx="26">
                  <c:v>33</c:v>
                </c:pt>
                <c:pt idx="27">
                  <c:v>36</c:v>
                </c:pt>
                <c:pt idx="28">
                  <c:v>55</c:v>
                </c:pt>
                <c:pt idx="29">
                  <c:v>60</c:v>
                </c:pt>
                <c:pt idx="30">
                  <c:v>88</c:v>
                </c:pt>
                <c:pt idx="31">
                  <c:v>176</c:v>
                </c:pt>
                <c:pt idx="32">
                  <c:v>201</c:v>
                </c:pt>
                <c:pt idx="33">
                  <c:v>214</c:v>
                </c:pt>
                <c:pt idx="34">
                  <c:v>298</c:v>
                </c:pt>
                <c:pt idx="35">
                  <c:v>333</c:v>
                </c:pt>
                <c:pt idx="36">
                  <c:v>360</c:v>
                </c:pt>
                <c:pt idx="37">
                  <c:v>440</c:v>
                </c:pt>
                <c:pt idx="38">
                  <c:v>521</c:v>
                </c:pt>
                <c:pt idx="39">
                  <c:v>559</c:v>
                </c:pt>
                <c:pt idx="40">
                  <c:v>573</c:v>
                </c:pt>
                <c:pt idx="41">
                  <c:v>698</c:v>
                </c:pt>
                <c:pt idx="42">
                  <c:v>818</c:v>
                </c:pt>
                <c:pt idx="43">
                  <c:v>983</c:v>
                </c:pt>
                <c:pt idx="44">
                  <c:v>1151</c:v>
                </c:pt>
                <c:pt idx="45">
                  <c:v>1316</c:v>
                </c:pt>
                <c:pt idx="46">
                  <c:v>1383</c:v>
                </c:pt>
                <c:pt idx="47">
                  <c:v>1377</c:v>
                </c:pt>
                <c:pt idx="48">
                  <c:v>1514</c:v>
                </c:pt>
                <c:pt idx="49">
                  <c:v>1654</c:v>
                </c:pt>
                <c:pt idx="50">
                  <c:v>1870</c:v>
                </c:pt>
                <c:pt idx="51">
                  <c:v>2028</c:v>
                </c:pt>
                <c:pt idx="52">
                  <c:v>2287</c:v>
                </c:pt>
                <c:pt idx="53">
                  <c:v>2360</c:v>
                </c:pt>
                <c:pt idx="54">
                  <c:v>2325</c:v>
                </c:pt>
                <c:pt idx="55">
                  <c:v>2484</c:v>
                </c:pt>
                <c:pt idx="56">
                  <c:v>2653</c:v>
                </c:pt>
                <c:pt idx="57">
                  <c:v>2666</c:v>
                </c:pt>
                <c:pt idx="58">
                  <c:v>3059</c:v>
                </c:pt>
                <c:pt idx="59">
                  <c:v>3192</c:v>
                </c:pt>
                <c:pt idx="60">
                  <c:v>3106</c:v>
                </c:pt>
                <c:pt idx="61">
                  <c:v>2945</c:v>
                </c:pt>
                <c:pt idx="62">
                  <c:v>2959</c:v>
                </c:pt>
                <c:pt idx="63">
                  <c:v>2886</c:v>
                </c:pt>
                <c:pt idx="64">
                  <c:v>3072</c:v>
                </c:pt>
                <c:pt idx="65">
                  <c:v>3244</c:v>
                </c:pt>
                <c:pt idx="66">
                  <c:v>3063</c:v>
                </c:pt>
                <c:pt idx="67">
                  <c:v>2814</c:v>
                </c:pt>
                <c:pt idx="68">
                  <c:v>2714</c:v>
                </c:pt>
                <c:pt idx="69">
                  <c:v>2561</c:v>
                </c:pt>
                <c:pt idx="70">
                  <c:v>2420</c:v>
                </c:pt>
                <c:pt idx="71">
                  <c:v>2537</c:v>
                </c:pt>
                <c:pt idx="72">
                  <c:v>2659</c:v>
                </c:pt>
                <c:pt idx="73">
                  <c:v>2561</c:v>
                </c:pt>
                <c:pt idx="74">
                  <c:v>2359</c:v>
                </c:pt>
                <c:pt idx="75">
                  <c:v>2117</c:v>
                </c:pt>
                <c:pt idx="76">
                  <c:v>2072</c:v>
                </c:pt>
                <c:pt idx="77">
                  <c:v>1910</c:v>
                </c:pt>
                <c:pt idx="78">
                  <c:v>2010</c:v>
                </c:pt>
                <c:pt idx="79">
                  <c:v>2083</c:v>
                </c:pt>
                <c:pt idx="80">
                  <c:v>2026</c:v>
                </c:pt>
                <c:pt idx="81">
                  <c:v>1772</c:v>
                </c:pt>
                <c:pt idx="82">
                  <c:v>1587</c:v>
                </c:pt>
                <c:pt idx="83">
                  <c:v>1563</c:v>
                </c:pt>
                <c:pt idx="84">
                  <c:v>1499</c:v>
                </c:pt>
                <c:pt idx="85">
                  <c:v>1522</c:v>
                </c:pt>
                <c:pt idx="86">
                  <c:v>1543</c:v>
                </c:pt>
                <c:pt idx="87">
                  <c:v>1498</c:v>
                </c:pt>
                <c:pt idx="88">
                  <c:v>1460</c:v>
                </c:pt>
                <c:pt idx="89">
                  <c:v>1314</c:v>
                </c:pt>
                <c:pt idx="90">
                  <c:v>1287</c:v>
                </c:pt>
                <c:pt idx="91">
                  <c:v>1280</c:v>
                </c:pt>
                <c:pt idx="92">
                  <c:v>1325</c:v>
                </c:pt>
                <c:pt idx="93">
                  <c:v>1361</c:v>
                </c:pt>
                <c:pt idx="94">
                  <c:v>1295</c:v>
                </c:pt>
                <c:pt idx="95">
                  <c:v>1234</c:v>
                </c:pt>
                <c:pt idx="96">
                  <c:v>1161</c:v>
                </c:pt>
                <c:pt idx="97">
                  <c:v>1221</c:v>
                </c:pt>
                <c:pt idx="98">
                  <c:v>1209</c:v>
                </c:pt>
                <c:pt idx="99">
                  <c:v>1246</c:v>
                </c:pt>
                <c:pt idx="100">
                  <c:v>1292</c:v>
                </c:pt>
                <c:pt idx="101">
                  <c:v>1272</c:v>
                </c:pt>
                <c:pt idx="102">
                  <c:v>1201</c:v>
                </c:pt>
                <c:pt idx="103">
                  <c:v>1161</c:v>
                </c:pt>
                <c:pt idx="104">
                  <c:v>1194</c:v>
                </c:pt>
                <c:pt idx="105">
                  <c:v>1198</c:v>
                </c:pt>
                <c:pt idx="106">
                  <c:v>1266</c:v>
                </c:pt>
                <c:pt idx="107">
                  <c:v>1299</c:v>
                </c:pt>
                <c:pt idx="108">
                  <c:v>1249</c:v>
                </c:pt>
                <c:pt idx="109">
                  <c:v>1193</c:v>
                </c:pt>
                <c:pt idx="110">
                  <c:v>1143</c:v>
                </c:pt>
                <c:pt idx="111">
                  <c:v>1242</c:v>
                </c:pt>
                <c:pt idx="112">
                  <c:v>1288</c:v>
                </c:pt>
                <c:pt idx="113">
                  <c:v>1375</c:v>
                </c:pt>
                <c:pt idx="114">
                  <c:v>1390</c:v>
                </c:pt>
                <c:pt idx="115">
                  <c:v>1336</c:v>
                </c:pt>
                <c:pt idx="116">
                  <c:v>1292</c:v>
                </c:pt>
                <c:pt idx="117">
                  <c:v>1261</c:v>
                </c:pt>
                <c:pt idx="118">
                  <c:v>1373</c:v>
                </c:pt>
                <c:pt idx="119">
                  <c:v>1461</c:v>
                </c:pt>
                <c:pt idx="120">
                  <c:v>1535</c:v>
                </c:pt>
                <c:pt idx="121">
                  <c:v>1601</c:v>
                </c:pt>
                <c:pt idx="122">
                  <c:v>1506</c:v>
                </c:pt>
                <c:pt idx="123">
                  <c:v>1434</c:v>
                </c:pt>
                <c:pt idx="124">
                  <c:v>1367</c:v>
                </c:pt>
                <c:pt idx="125">
                  <c:v>1626</c:v>
                </c:pt>
                <c:pt idx="126">
                  <c:v>1746</c:v>
                </c:pt>
                <c:pt idx="127">
                  <c:v>1821</c:v>
                </c:pt>
                <c:pt idx="128">
                  <c:v>1880</c:v>
                </c:pt>
                <c:pt idx="129">
                  <c:v>1780</c:v>
                </c:pt>
                <c:pt idx="130">
                  <c:v>1664</c:v>
                </c:pt>
                <c:pt idx="131">
                  <c:v>1546</c:v>
                </c:pt>
                <c:pt idx="132">
                  <c:v>1691</c:v>
                </c:pt>
                <c:pt idx="133">
                  <c:v>1775</c:v>
                </c:pt>
                <c:pt idx="134">
                  <c:v>1846</c:v>
                </c:pt>
                <c:pt idx="135">
                  <c:v>1847</c:v>
                </c:pt>
                <c:pt idx="136">
                  <c:v>1705</c:v>
                </c:pt>
                <c:pt idx="137">
                  <c:v>1562</c:v>
                </c:pt>
                <c:pt idx="138">
                  <c:v>1453</c:v>
                </c:pt>
                <c:pt idx="139">
                  <c:v>1450</c:v>
                </c:pt>
                <c:pt idx="140">
                  <c:v>1399</c:v>
                </c:pt>
                <c:pt idx="141">
                  <c:v>1431</c:v>
                </c:pt>
                <c:pt idx="142">
                  <c:v>1459</c:v>
                </c:pt>
                <c:pt idx="143">
                  <c:v>1365</c:v>
                </c:pt>
                <c:pt idx="144">
                  <c:v>1287</c:v>
                </c:pt>
                <c:pt idx="145">
                  <c:v>1177</c:v>
                </c:pt>
                <c:pt idx="146">
                  <c:v>1190</c:v>
                </c:pt>
                <c:pt idx="147">
                  <c:v>1194</c:v>
                </c:pt>
                <c:pt idx="148">
                  <c:v>1220</c:v>
                </c:pt>
                <c:pt idx="149">
                  <c:v>1231</c:v>
                </c:pt>
                <c:pt idx="150">
                  <c:v>1147</c:v>
                </c:pt>
                <c:pt idx="151">
                  <c:v>1080</c:v>
                </c:pt>
                <c:pt idx="152">
                  <c:v>1002</c:v>
                </c:pt>
                <c:pt idx="153">
                  <c:v>1021</c:v>
                </c:pt>
                <c:pt idx="154">
                  <c:v>1012</c:v>
                </c:pt>
                <c:pt idx="155">
                  <c:v>1050</c:v>
                </c:pt>
                <c:pt idx="156">
                  <c:v>1071</c:v>
                </c:pt>
                <c:pt idx="157">
                  <c:v>1017</c:v>
                </c:pt>
                <c:pt idx="158">
                  <c:v>948</c:v>
                </c:pt>
                <c:pt idx="159">
                  <c:v>905</c:v>
                </c:pt>
                <c:pt idx="160">
                  <c:v>928</c:v>
                </c:pt>
                <c:pt idx="161">
                  <c:v>896</c:v>
                </c:pt>
                <c:pt idx="162">
                  <c:v>912</c:v>
                </c:pt>
                <c:pt idx="163">
                  <c:v>937</c:v>
                </c:pt>
                <c:pt idx="164">
                  <c:v>899</c:v>
                </c:pt>
                <c:pt idx="165">
                  <c:v>840</c:v>
                </c:pt>
                <c:pt idx="166">
                  <c:v>789</c:v>
                </c:pt>
                <c:pt idx="167">
                  <c:v>807</c:v>
                </c:pt>
                <c:pt idx="168">
                  <c:v>798</c:v>
                </c:pt>
                <c:pt idx="169">
                  <c:v>817</c:v>
                </c:pt>
                <c:pt idx="170">
                  <c:v>832</c:v>
                </c:pt>
                <c:pt idx="171">
                  <c:v>803</c:v>
                </c:pt>
                <c:pt idx="172">
                  <c:v>763</c:v>
                </c:pt>
                <c:pt idx="173">
                  <c:v>736</c:v>
                </c:pt>
                <c:pt idx="174">
                  <c:v>767</c:v>
                </c:pt>
                <c:pt idx="175">
                  <c:v>780</c:v>
                </c:pt>
                <c:pt idx="176">
                  <c:v>796</c:v>
                </c:pt>
                <c:pt idx="177">
                  <c:v>821</c:v>
                </c:pt>
                <c:pt idx="178">
                  <c:v>799</c:v>
                </c:pt>
                <c:pt idx="179">
                  <c:v>749</c:v>
                </c:pt>
                <c:pt idx="180">
                  <c:v>714</c:v>
                </c:pt>
                <c:pt idx="181">
                  <c:v>737</c:v>
                </c:pt>
                <c:pt idx="182">
                  <c:v>730</c:v>
                </c:pt>
                <c:pt idx="183">
                  <c:v>771</c:v>
                </c:pt>
                <c:pt idx="184">
                  <c:v>797</c:v>
                </c:pt>
                <c:pt idx="185">
                  <c:v>746</c:v>
                </c:pt>
                <c:pt idx="186">
                  <c:v>695</c:v>
                </c:pt>
                <c:pt idx="187">
                  <c:v>663</c:v>
                </c:pt>
                <c:pt idx="188">
                  <c:v>681</c:v>
                </c:pt>
                <c:pt idx="189">
                  <c:v>667</c:v>
                </c:pt>
                <c:pt idx="190">
                  <c:v>687</c:v>
                </c:pt>
                <c:pt idx="191">
                  <c:v>702</c:v>
                </c:pt>
                <c:pt idx="192">
                  <c:v>718</c:v>
                </c:pt>
                <c:pt idx="193">
                  <c:v>728</c:v>
                </c:pt>
                <c:pt idx="194">
                  <c:v>734</c:v>
                </c:pt>
                <c:pt idx="195">
                  <c:v>769</c:v>
                </c:pt>
                <c:pt idx="196">
                  <c:v>731</c:v>
                </c:pt>
                <c:pt idx="197">
                  <c:v>707</c:v>
                </c:pt>
                <c:pt idx="198">
                  <c:v>669</c:v>
                </c:pt>
                <c:pt idx="199">
                  <c:v>649</c:v>
                </c:pt>
                <c:pt idx="200">
                  <c:v>616</c:v>
                </c:pt>
                <c:pt idx="201">
                  <c:v>611</c:v>
                </c:pt>
                <c:pt idx="202">
                  <c:v>633</c:v>
                </c:pt>
                <c:pt idx="203">
                  <c:v>588</c:v>
                </c:pt>
                <c:pt idx="204">
                  <c:v>563</c:v>
                </c:pt>
                <c:pt idx="205">
                  <c:v>534</c:v>
                </c:pt>
                <c:pt idx="206">
                  <c:v>522</c:v>
                </c:pt>
                <c:pt idx="207">
                  <c:v>499</c:v>
                </c:pt>
                <c:pt idx="208">
                  <c:v>491</c:v>
                </c:pt>
                <c:pt idx="209">
                  <c:v>498</c:v>
                </c:pt>
                <c:pt idx="210">
                  <c:v>484</c:v>
                </c:pt>
                <c:pt idx="211">
                  <c:v>457</c:v>
                </c:pt>
                <c:pt idx="212">
                  <c:v>448</c:v>
                </c:pt>
                <c:pt idx="213">
                  <c:v>423</c:v>
                </c:pt>
                <c:pt idx="214">
                  <c:v>407</c:v>
                </c:pt>
                <c:pt idx="215">
                  <c:v>406</c:v>
                </c:pt>
                <c:pt idx="216">
                  <c:v>409</c:v>
                </c:pt>
                <c:pt idx="217">
                  <c:v>395</c:v>
                </c:pt>
                <c:pt idx="218">
                  <c:v>387</c:v>
                </c:pt>
                <c:pt idx="219">
                  <c:v>385</c:v>
                </c:pt>
                <c:pt idx="220">
                  <c:v>379</c:v>
                </c:pt>
                <c:pt idx="221">
                  <c:v>364</c:v>
                </c:pt>
                <c:pt idx="222">
                  <c:v>360</c:v>
                </c:pt>
                <c:pt idx="223">
                  <c:v>365</c:v>
                </c:pt>
                <c:pt idx="224">
                  <c:v>341</c:v>
                </c:pt>
                <c:pt idx="225">
                  <c:v>334</c:v>
                </c:pt>
                <c:pt idx="226">
                  <c:v>328</c:v>
                </c:pt>
                <c:pt idx="227">
                  <c:v>324</c:v>
                </c:pt>
                <c:pt idx="228">
                  <c:v>323</c:v>
                </c:pt>
                <c:pt idx="229">
                  <c:v>320</c:v>
                </c:pt>
                <c:pt idx="230">
                  <c:v>328</c:v>
                </c:pt>
                <c:pt idx="231">
                  <c:v>322</c:v>
                </c:pt>
                <c:pt idx="232">
                  <c:v>298</c:v>
                </c:pt>
                <c:pt idx="233">
                  <c:v>280</c:v>
                </c:pt>
                <c:pt idx="234">
                  <c:v>272</c:v>
                </c:pt>
                <c:pt idx="235">
                  <c:v>265</c:v>
                </c:pt>
                <c:pt idx="236">
                  <c:v>263</c:v>
                </c:pt>
                <c:pt idx="237">
                  <c:v>267</c:v>
                </c:pt>
                <c:pt idx="238">
                  <c:v>264</c:v>
                </c:pt>
                <c:pt idx="239">
                  <c:v>259</c:v>
                </c:pt>
                <c:pt idx="240">
                  <c:v>255</c:v>
                </c:pt>
                <c:pt idx="241">
                  <c:v>252</c:v>
                </c:pt>
                <c:pt idx="242">
                  <c:v>249</c:v>
                </c:pt>
                <c:pt idx="243">
                  <c:v>248</c:v>
                </c:pt>
                <c:pt idx="244">
                  <c:v>250</c:v>
                </c:pt>
                <c:pt idx="245">
                  <c:v>239</c:v>
                </c:pt>
                <c:pt idx="246">
                  <c:v>235</c:v>
                </c:pt>
                <c:pt idx="247">
                  <c:v>236</c:v>
                </c:pt>
                <c:pt idx="248">
                  <c:v>234</c:v>
                </c:pt>
                <c:pt idx="249">
                  <c:v>229</c:v>
                </c:pt>
                <c:pt idx="250">
                  <c:v>227</c:v>
                </c:pt>
                <c:pt idx="251">
                  <c:v>228</c:v>
                </c:pt>
                <c:pt idx="252">
                  <c:v>224</c:v>
                </c:pt>
                <c:pt idx="253">
                  <c:v>220</c:v>
                </c:pt>
                <c:pt idx="254">
                  <c:v>220</c:v>
                </c:pt>
                <c:pt idx="255">
                  <c:v>220</c:v>
                </c:pt>
                <c:pt idx="256">
                  <c:v>217</c:v>
                </c:pt>
                <c:pt idx="257">
                  <c:v>217</c:v>
                </c:pt>
                <c:pt idx="258">
                  <c:v>218</c:v>
                </c:pt>
                <c:pt idx="259">
                  <c:v>219</c:v>
                </c:pt>
                <c:pt idx="260">
                  <c:v>215</c:v>
                </c:pt>
                <c:pt idx="261">
                  <c:v>216</c:v>
                </c:pt>
                <c:pt idx="262">
                  <c:v>215</c:v>
                </c:pt>
                <c:pt idx="263">
                  <c:v>212</c:v>
                </c:pt>
                <c:pt idx="264">
                  <c:v>212</c:v>
                </c:pt>
                <c:pt idx="265">
                  <c:v>214</c:v>
                </c:pt>
                <c:pt idx="266">
                  <c:v>212</c:v>
                </c:pt>
                <c:pt idx="267">
                  <c:v>209</c:v>
                </c:pt>
                <c:pt idx="268">
                  <c:v>208</c:v>
                </c:pt>
                <c:pt idx="269">
                  <c:v>206</c:v>
                </c:pt>
                <c:pt idx="270">
                  <c:v>204</c:v>
                </c:pt>
                <c:pt idx="271">
                  <c:v>204</c:v>
                </c:pt>
                <c:pt idx="272">
                  <c:v>203</c:v>
                </c:pt>
                <c:pt idx="273">
                  <c:v>200</c:v>
                </c:pt>
                <c:pt idx="274">
                  <c:v>197</c:v>
                </c:pt>
                <c:pt idx="275">
                  <c:v>196</c:v>
                </c:pt>
                <c:pt idx="276">
                  <c:v>194</c:v>
                </c:pt>
                <c:pt idx="277">
                  <c:v>194</c:v>
                </c:pt>
                <c:pt idx="278">
                  <c:v>194</c:v>
                </c:pt>
                <c:pt idx="279">
                  <c:v>193</c:v>
                </c:pt>
                <c:pt idx="280">
                  <c:v>191</c:v>
                </c:pt>
                <c:pt idx="281">
                  <c:v>189</c:v>
                </c:pt>
                <c:pt idx="282">
                  <c:v>189</c:v>
                </c:pt>
                <c:pt idx="283">
                  <c:v>189</c:v>
                </c:pt>
                <c:pt idx="284">
                  <c:v>189</c:v>
                </c:pt>
                <c:pt idx="285">
                  <c:v>189</c:v>
                </c:pt>
                <c:pt idx="286">
                  <c:v>189</c:v>
                </c:pt>
                <c:pt idx="287">
                  <c:v>189</c:v>
                </c:pt>
                <c:pt idx="288">
                  <c:v>189</c:v>
                </c:pt>
                <c:pt idx="289">
                  <c:v>188</c:v>
                </c:pt>
                <c:pt idx="290">
                  <c:v>188</c:v>
                </c:pt>
                <c:pt idx="291">
                  <c:v>188</c:v>
                </c:pt>
                <c:pt idx="292">
                  <c:v>188</c:v>
                </c:pt>
                <c:pt idx="293">
                  <c:v>188</c:v>
                </c:pt>
                <c:pt idx="294">
                  <c:v>188</c:v>
                </c:pt>
                <c:pt idx="295">
                  <c:v>188</c:v>
                </c:pt>
                <c:pt idx="296">
                  <c:v>188</c:v>
                </c:pt>
                <c:pt idx="297">
                  <c:v>187</c:v>
                </c:pt>
                <c:pt idx="298">
                  <c:v>187</c:v>
                </c:pt>
                <c:pt idx="299">
                  <c:v>187</c:v>
                </c:pt>
                <c:pt idx="300">
                  <c:v>187</c:v>
                </c:pt>
                <c:pt idx="301">
                  <c:v>187</c:v>
                </c:pt>
                <c:pt idx="302">
                  <c:v>188</c:v>
                </c:pt>
                <c:pt idx="303">
                  <c:v>188</c:v>
                </c:pt>
                <c:pt idx="304">
                  <c:v>188</c:v>
                </c:pt>
                <c:pt idx="305">
                  <c:v>188</c:v>
                </c:pt>
                <c:pt idx="306">
                  <c:v>188</c:v>
                </c:pt>
                <c:pt idx="307">
                  <c:v>188</c:v>
                </c:pt>
                <c:pt idx="308">
                  <c:v>188</c:v>
                </c:pt>
                <c:pt idx="309">
                  <c:v>188</c:v>
                </c:pt>
                <c:pt idx="310">
                  <c:v>188</c:v>
                </c:pt>
                <c:pt idx="311">
                  <c:v>188</c:v>
                </c:pt>
                <c:pt idx="312">
                  <c:v>188</c:v>
                </c:pt>
                <c:pt idx="313">
                  <c:v>189</c:v>
                </c:pt>
                <c:pt idx="314">
                  <c:v>189</c:v>
                </c:pt>
                <c:pt idx="315">
                  <c:v>189</c:v>
                </c:pt>
                <c:pt idx="316">
                  <c:v>189</c:v>
                </c:pt>
                <c:pt idx="317">
                  <c:v>189</c:v>
                </c:pt>
                <c:pt idx="318">
                  <c:v>188</c:v>
                </c:pt>
                <c:pt idx="319">
                  <c:v>188</c:v>
                </c:pt>
                <c:pt idx="320">
                  <c:v>188</c:v>
                </c:pt>
                <c:pt idx="321">
                  <c:v>188</c:v>
                </c:pt>
                <c:pt idx="322">
                  <c:v>188</c:v>
                </c:pt>
                <c:pt idx="323">
                  <c:v>189</c:v>
                </c:pt>
                <c:pt idx="324">
                  <c:v>188</c:v>
                </c:pt>
                <c:pt idx="325">
                  <c:v>188</c:v>
                </c:pt>
                <c:pt idx="326">
                  <c:v>187</c:v>
                </c:pt>
                <c:pt idx="327">
                  <c:v>187</c:v>
                </c:pt>
                <c:pt idx="328">
                  <c:v>186</c:v>
                </c:pt>
                <c:pt idx="329">
                  <c:v>187</c:v>
                </c:pt>
                <c:pt idx="330">
                  <c:v>188</c:v>
                </c:pt>
                <c:pt idx="331">
                  <c:v>188</c:v>
                </c:pt>
                <c:pt idx="332">
                  <c:v>188</c:v>
                </c:pt>
                <c:pt idx="333">
                  <c:v>188</c:v>
                </c:pt>
                <c:pt idx="334">
                  <c:v>188</c:v>
                </c:pt>
                <c:pt idx="335">
                  <c:v>188</c:v>
                </c:pt>
                <c:pt idx="336">
                  <c:v>188</c:v>
                </c:pt>
                <c:pt idx="337">
                  <c:v>188</c:v>
                </c:pt>
                <c:pt idx="338">
                  <c:v>187</c:v>
                </c:pt>
                <c:pt idx="339">
                  <c:v>187</c:v>
                </c:pt>
                <c:pt idx="340">
                  <c:v>187</c:v>
                </c:pt>
                <c:pt idx="341">
                  <c:v>188</c:v>
                </c:pt>
                <c:pt idx="342">
                  <c:v>188</c:v>
                </c:pt>
                <c:pt idx="343">
                  <c:v>187</c:v>
                </c:pt>
                <c:pt idx="344">
                  <c:v>187</c:v>
                </c:pt>
                <c:pt idx="345">
                  <c:v>187</c:v>
                </c:pt>
                <c:pt idx="346">
                  <c:v>187</c:v>
                </c:pt>
                <c:pt idx="347">
                  <c:v>187</c:v>
                </c:pt>
                <c:pt idx="348">
                  <c:v>187</c:v>
                </c:pt>
                <c:pt idx="349">
                  <c:v>187</c:v>
                </c:pt>
                <c:pt idx="350">
                  <c:v>186</c:v>
                </c:pt>
                <c:pt idx="351">
                  <c:v>186</c:v>
                </c:pt>
                <c:pt idx="352">
                  <c:v>186</c:v>
                </c:pt>
                <c:pt idx="353">
                  <c:v>186</c:v>
                </c:pt>
                <c:pt idx="354">
                  <c:v>186</c:v>
                </c:pt>
                <c:pt idx="355">
                  <c:v>186</c:v>
                </c:pt>
                <c:pt idx="356">
                  <c:v>187</c:v>
                </c:pt>
                <c:pt idx="357">
                  <c:v>187</c:v>
                </c:pt>
                <c:pt idx="358">
                  <c:v>187</c:v>
                </c:pt>
                <c:pt idx="359">
                  <c:v>187</c:v>
                </c:pt>
                <c:pt idx="360">
                  <c:v>188</c:v>
                </c:pt>
                <c:pt idx="361">
                  <c:v>188</c:v>
                </c:pt>
                <c:pt idx="362">
                  <c:v>188</c:v>
                </c:pt>
                <c:pt idx="363">
                  <c:v>188</c:v>
                </c:pt>
                <c:pt idx="364">
                  <c:v>188</c:v>
                </c:pt>
                <c:pt idx="365">
                  <c:v>190</c:v>
                </c:pt>
                <c:pt idx="366">
                  <c:v>191</c:v>
                </c:pt>
                <c:pt idx="367">
                  <c:v>192</c:v>
                </c:pt>
                <c:pt idx="368">
                  <c:v>192</c:v>
                </c:pt>
                <c:pt idx="369">
                  <c:v>192</c:v>
                </c:pt>
                <c:pt idx="370">
                  <c:v>193</c:v>
                </c:pt>
                <c:pt idx="371">
                  <c:v>194</c:v>
                </c:pt>
                <c:pt idx="372">
                  <c:v>195</c:v>
                </c:pt>
                <c:pt idx="373">
                  <c:v>196</c:v>
                </c:pt>
                <c:pt idx="374">
                  <c:v>196</c:v>
                </c:pt>
                <c:pt idx="375">
                  <c:v>195</c:v>
                </c:pt>
                <c:pt idx="376">
                  <c:v>194</c:v>
                </c:pt>
                <c:pt idx="377">
                  <c:v>194</c:v>
                </c:pt>
                <c:pt idx="378">
                  <c:v>195</c:v>
                </c:pt>
                <c:pt idx="379">
                  <c:v>194</c:v>
                </c:pt>
                <c:pt idx="380">
                  <c:v>194</c:v>
                </c:pt>
                <c:pt idx="381">
                  <c:v>193</c:v>
                </c:pt>
                <c:pt idx="382">
                  <c:v>191</c:v>
                </c:pt>
                <c:pt idx="383">
                  <c:v>191</c:v>
                </c:pt>
                <c:pt idx="384">
                  <c:v>195</c:v>
                </c:pt>
                <c:pt idx="385">
                  <c:v>197</c:v>
                </c:pt>
                <c:pt idx="386">
                  <c:v>197</c:v>
                </c:pt>
                <c:pt idx="387">
                  <c:v>197</c:v>
                </c:pt>
                <c:pt idx="388">
                  <c:v>197</c:v>
                </c:pt>
                <c:pt idx="389">
                  <c:v>198</c:v>
                </c:pt>
                <c:pt idx="390">
                  <c:v>199</c:v>
                </c:pt>
                <c:pt idx="391">
                  <c:v>203</c:v>
                </c:pt>
                <c:pt idx="392">
                  <c:v>205</c:v>
                </c:pt>
                <c:pt idx="393">
                  <c:v>210</c:v>
                </c:pt>
                <c:pt idx="394">
                  <c:v>211</c:v>
                </c:pt>
                <c:pt idx="395">
                  <c:v>212</c:v>
                </c:pt>
                <c:pt idx="396">
                  <c:v>211</c:v>
                </c:pt>
                <c:pt idx="397">
                  <c:v>210</c:v>
                </c:pt>
                <c:pt idx="398">
                  <c:v>212</c:v>
                </c:pt>
                <c:pt idx="399">
                  <c:v>214</c:v>
                </c:pt>
                <c:pt idx="400">
                  <c:v>214</c:v>
                </c:pt>
                <c:pt idx="401">
                  <c:v>215</c:v>
                </c:pt>
                <c:pt idx="402">
                  <c:v>216</c:v>
                </c:pt>
                <c:pt idx="403">
                  <c:v>217</c:v>
                </c:pt>
                <c:pt idx="404">
                  <c:v>215</c:v>
                </c:pt>
                <c:pt idx="405">
                  <c:v>217</c:v>
                </c:pt>
                <c:pt idx="406">
                  <c:v>213</c:v>
                </c:pt>
                <c:pt idx="407">
                  <c:v>213</c:v>
                </c:pt>
                <c:pt idx="408">
                  <c:v>209</c:v>
                </c:pt>
                <c:pt idx="409">
                  <c:v>214</c:v>
                </c:pt>
                <c:pt idx="410">
                  <c:v>214</c:v>
                </c:pt>
                <c:pt idx="411">
                  <c:v>215</c:v>
                </c:pt>
                <c:pt idx="412">
                  <c:v>227</c:v>
                </c:pt>
                <c:pt idx="413">
                  <c:v>231</c:v>
                </c:pt>
                <c:pt idx="414">
                  <c:v>239</c:v>
                </c:pt>
                <c:pt idx="415">
                  <c:v>242</c:v>
                </c:pt>
                <c:pt idx="416">
                  <c:v>248</c:v>
                </c:pt>
                <c:pt idx="417">
                  <c:v>244</c:v>
                </c:pt>
                <c:pt idx="418">
                  <c:v>247</c:v>
                </c:pt>
                <c:pt idx="419">
                  <c:v>265</c:v>
                </c:pt>
                <c:pt idx="420">
                  <c:v>267</c:v>
                </c:pt>
                <c:pt idx="421">
                  <c:v>281</c:v>
                </c:pt>
                <c:pt idx="422">
                  <c:v>282</c:v>
                </c:pt>
                <c:pt idx="423">
                  <c:v>287</c:v>
                </c:pt>
                <c:pt idx="424">
                  <c:v>287</c:v>
                </c:pt>
                <c:pt idx="425">
                  <c:v>288</c:v>
                </c:pt>
                <c:pt idx="426">
                  <c:v>328</c:v>
                </c:pt>
                <c:pt idx="427">
                  <c:v>338</c:v>
                </c:pt>
                <c:pt idx="428">
                  <c:v>350</c:v>
                </c:pt>
                <c:pt idx="429">
                  <c:v>363</c:v>
                </c:pt>
                <c:pt idx="430">
                  <c:v>381</c:v>
                </c:pt>
                <c:pt idx="431">
                  <c:v>388</c:v>
                </c:pt>
                <c:pt idx="432">
                  <c:v>390</c:v>
                </c:pt>
                <c:pt idx="433">
                  <c:v>436</c:v>
                </c:pt>
                <c:pt idx="434">
                  <c:v>449</c:v>
                </c:pt>
                <c:pt idx="435">
                  <c:v>459</c:v>
                </c:pt>
                <c:pt idx="436">
                  <c:v>484</c:v>
                </c:pt>
                <c:pt idx="437">
                  <c:v>513</c:v>
                </c:pt>
                <c:pt idx="438">
                  <c:v>521</c:v>
                </c:pt>
                <c:pt idx="439">
                  <c:v>527</c:v>
                </c:pt>
                <c:pt idx="440">
                  <c:v>574</c:v>
                </c:pt>
                <c:pt idx="441">
                  <c:v>570</c:v>
                </c:pt>
                <c:pt idx="442">
                  <c:v>553</c:v>
                </c:pt>
                <c:pt idx="443">
                  <c:v>570</c:v>
                </c:pt>
                <c:pt idx="444">
                  <c:v>594</c:v>
                </c:pt>
                <c:pt idx="445">
                  <c:v>580</c:v>
                </c:pt>
                <c:pt idx="446">
                  <c:v>576</c:v>
                </c:pt>
                <c:pt idx="447">
                  <c:v>635</c:v>
                </c:pt>
                <c:pt idx="448">
                  <c:v>638</c:v>
                </c:pt>
                <c:pt idx="449">
                  <c:v>645</c:v>
                </c:pt>
                <c:pt idx="450">
                  <c:v>645</c:v>
                </c:pt>
                <c:pt idx="451">
                  <c:v>651</c:v>
                </c:pt>
                <c:pt idx="452">
                  <c:v>638</c:v>
                </c:pt>
                <c:pt idx="453">
                  <c:v>628</c:v>
                </c:pt>
                <c:pt idx="454">
                  <c:v>656</c:v>
                </c:pt>
                <c:pt idx="455">
                  <c:v>633</c:v>
                </c:pt>
                <c:pt idx="456">
                  <c:v>620</c:v>
                </c:pt>
                <c:pt idx="457">
                  <c:v>634</c:v>
                </c:pt>
                <c:pt idx="458">
                  <c:v>598</c:v>
                </c:pt>
                <c:pt idx="459">
                  <c:v>568</c:v>
                </c:pt>
                <c:pt idx="460">
                  <c:v>558</c:v>
                </c:pt>
                <c:pt idx="461">
                  <c:v>588</c:v>
                </c:pt>
                <c:pt idx="462">
                  <c:v>561</c:v>
                </c:pt>
                <c:pt idx="463">
                  <c:v>539</c:v>
                </c:pt>
                <c:pt idx="464">
                  <c:v>516</c:v>
                </c:pt>
                <c:pt idx="465">
                  <c:v>500</c:v>
                </c:pt>
                <c:pt idx="466">
                  <c:v>469</c:v>
                </c:pt>
                <c:pt idx="467">
                  <c:v>461</c:v>
                </c:pt>
                <c:pt idx="468">
                  <c:v>468</c:v>
                </c:pt>
                <c:pt idx="469">
                  <c:v>439</c:v>
                </c:pt>
                <c:pt idx="470">
                  <c:v>414</c:v>
                </c:pt>
                <c:pt idx="471">
                  <c:v>388</c:v>
                </c:pt>
                <c:pt idx="472">
                  <c:v>395</c:v>
                </c:pt>
                <c:pt idx="473">
                  <c:v>379</c:v>
                </c:pt>
                <c:pt idx="474">
                  <c:v>3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C7-418F-9894-CC9725FB542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476</c:f>
              <c:numCache>
                <c:formatCode>m/d/yyyy</c:formatCode>
                <c:ptCount val="4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</c:numCache>
            </c:numRef>
          </c:cat>
          <c:val>
            <c:numRef>
              <c:f>List1!$D$2:$D$476</c:f>
              <c:numCache>
                <c:formatCode>General</c:formatCode>
                <c:ptCount val="475"/>
                <c:pt idx="0">
                  <c:v>7</c:v>
                </c:pt>
                <c:pt idx="1">
                  <c:v>6</c:v>
                </c:pt>
                <c:pt idx="2">
                  <c:v>6</c:v>
                </c:pt>
                <c:pt idx="3">
                  <c:v>9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8</c:v>
                </c:pt>
                <c:pt idx="8">
                  <c:v>10</c:v>
                </c:pt>
                <c:pt idx="9">
                  <c:v>9</c:v>
                </c:pt>
                <c:pt idx="10">
                  <c:v>9</c:v>
                </c:pt>
                <c:pt idx="11">
                  <c:v>12</c:v>
                </c:pt>
                <c:pt idx="12">
                  <c:v>3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10</c:v>
                </c:pt>
                <c:pt idx="18">
                  <c:v>9</c:v>
                </c:pt>
                <c:pt idx="19">
                  <c:v>14</c:v>
                </c:pt>
                <c:pt idx="20">
                  <c:v>13</c:v>
                </c:pt>
                <c:pt idx="21">
                  <c:v>13</c:v>
                </c:pt>
                <c:pt idx="22">
                  <c:v>14</c:v>
                </c:pt>
                <c:pt idx="23">
                  <c:v>21</c:v>
                </c:pt>
                <c:pt idx="24">
                  <c:v>30</c:v>
                </c:pt>
                <c:pt idx="25">
                  <c:v>39</c:v>
                </c:pt>
                <c:pt idx="26">
                  <c:v>40</c:v>
                </c:pt>
                <c:pt idx="27">
                  <c:v>43</c:v>
                </c:pt>
                <c:pt idx="28">
                  <c:v>66</c:v>
                </c:pt>
                <c:pt idx="29">
                  <c:v>98</c:v>
                </c:pt>
                <c:pt idx="30">
                  <c:v>155</c:v>
                </c:pt>
                <c:pt idx="31">
                  <c:v>298</c:v>
                </c:pt>
                <c:pt idx="32">
                  <c:v>358</c:v>
                </c:pt>
                <c:pt idx="33">
                  <c:v>423</c:v>
                </c:pt>
                <c:pt idx="34">
                  <c:v>664</c:v>
                </c:pt>
                <c:pt idx="35">
                  <c:v>770</c:v>
                </c:pt>
                <c:pt idx="36">
                  <c:v>835</c:v>
                </c:pt>
                <c:pt idx="37">
                  <c:v>983</c:v>
                </c:pt>
                <c:pt idx="38">
                  <c:v>1196</c:v>
                </c:pt>
                <c:pt idx="39">
                  <c:v>1254</c:v>
                </c:pt>
                <c:pt idx="40">
                  <c:v>1235</c:v>
                </c:pt>
                <c:pt idx="41">
                  <c:v>1473</c:v>
                </c:pt>
                <c:pt idx="42">
                  <c:v>1763</c:v>
                </c:pt>
                <c:pt idx="43">
                  <c:v>2058</c:v>
                </c:pt>
                <c:pt idx="44">
                  <c:v>2394</c:v>
                </c:pt>
                <c:pt idx="45">
                  <c:v>2687</c:v>
                </c:pt>
                <c:pt idx="46">
                  <c:v>2830</c:v>
                </c:pt>
                <c:pt idx="47">
                  <c:v>2778</c:v>
                </c:pt>
                <c:pt idx="48">
                  <c:v>3085</c:v>
                </c:pt>
                <c:pt idx="49">
                  <c:v>3338</c:v>
                </c:pt>
                <c:pt idx="50">
                  <c:v>3832</c:v>
                </c:pt>
                <c:pt idx="51">
                  <c:v>4147</c:v>
                </c:pt>
                <c:pt idx="52">
                  <c:v>4691</c:v>
                </c:pt>
                <c:pt idx="53">
                  <c:v>4846</c:v>
                </c:pt>
                <c:pt idx="54">
                  <c:v>4854</c:v>
                </c:pt>
                <c:pt idx="55">
                  <c:v>5194</c:v>
                </c:pt>
                <c:pt idx="56">
                  <c:v>5692</c:v>
                </c:pt>
                <c:pt idx="57">
                  <c:v>5731</c:v>
                </c:pt>
                <c:pt idx="58">
                  <c:v>6563</c:v>
                </c:pt>
                <c:pt idx="59">
                  <c:v>6992</c:v>
                </c:pt>
                <c:pt idx="60">
                  <c:v>6994</c:v>
                </c:pt>
                <c:pt idx="61">
                  <c:v>6727</c:v>
                </c:pt>
                <c:pt idx="62">
                  <c:v>6803</c:v>
                </c:pt>
                <c:pt idx="63">
                  <c:v>6658</c:v>
                </c:pt>
                <c:pt idx="64">
                  <c:v>7055</c:v>
                </c:pt>
                <c:pt idx="65">
                  <c:v>7556</c:v>
                </c:pt>
                <c:pt idx="66">
                  <c:v>7233</c:v>
                </c:pt>
                <c:pt idx="67">
                  <c:v>6635</c:v>
                </c:pt>
                <c:pt idx="68">
                  <c:v>6453</c:v>
                </c:pt>
                <c:pt idx="69">
                  <c:v>6056</c:v>
                </c:pt>
                <c:pt idx="70">
                  <c:v>5795</c:v>
                </c:pt>
                <c:pt idx="71">
                  <c:v>6331</c:v>
                </c:pt>
                <c:pt idx="72">
                  <c:v>6833</c:v>
                </c:pt>
                <c:pt idx="73">
                  <c:v>6783</c:v>
                </c:pt>
                <c:pt idx="74">
                  <c:v>6238</c:v>
                </c:pt>
                <c:pt idx="75">
                  <c:v>5883</c:v>
                </c:pt>
                <c:pt idx="76">
                  <c:v>5851</c:v>
                </c:pt>
                <c:pt idx="77">
                  <c:v>5474</c:v>
                </c:pt>
                <c:pt idx="78">
                  <c:v>5762</c:v>
                </c:pt>
                <c:pt idx="79">
                  <c:v>5985</c:v>
                </c:pt>
                <c:pt idx="80">
                  <c:v>5984</c:v>
                </c:pt>
                <c:pt idx="81">
                  <c:v>5351</c:v>
                </c:pt>
                <c:pt idx="82">
                  <c:v>4891</c:v>
                </c:pt>
                <c:pt idx="83">
                  <c:v>4991</c:v>
                </c:pt>
                <c:pt idx="84">
                  <c:v>4642</c:v>
                </c:pt>
                <c:pt idx="85">
                  <c:v>4658</c:v>
                </c:pt>
                <c:pt idx="86">
                  <c:v>4772</c:v>
                </c:pt>
                <c:pt idx="87">
                  <c:v>4491</c:v>
                </c:pt>
                <c:pt idx="88">
                  <c:v>4421</c:v>
                </c:pt>
                <c:pt idx="89">
                  <c:v>4017</c:v>
                </c:pt>
                <c:pt idx="90">
                  <c:v>3892</c:v>
                </c:pt>
                <c:pt idx="91">
                  <c:v>3699</c:v>
                </c:pt>
                <c:pt idx="92">
                  <c:v>3776</c:v>
                </c:pt>
                <c:pt idx="93">
                  <c:v>3869</c:v>
                </c:pt>
                <c:pt idx="94">
                  <c:v>3693</c:v>
                </c:pt>
                <c:pt idx="95">
                  <c:v>3465</c:v>
                </c:pt>
                <c:pt idx="96">
                  <c:v>3238</c:v>
                </c:pt>
                <c:pt idx="97">
                  <c:v>3250</c:v>
                </c:pt>
                <c:pt idx="98">
                  <c:v>3093</c:v>
                </c:pt>
                <c:pt idx="99">
                  <c:v>3185</c:v>
                </c:pt>
                <c:pt idx="100">
                  <c:v>3281</c:v>
                </c:pt>
                <c:pt idx="101">
                  <c:v>3249</c:v>
                </c:pt>
                <c:pt idx="102">
                  <c:v>3085</c:v>
                </c:pt>
                <c:pt idx="103">
                  <c:v>2998</c:v>
                </c:pt>
                <c:pt idx="104">
                  <c:v>3040</c:v>
                </c:pt>
                <c:pt idx="105">
                  <c:v>3024</c:v>
                </c:pt>
                <c:pt idx="106">
                  <c:v>3093</c:v>
                </c:pt>
                <c:pt idx="107">
                  <c:v>3131</c:v>
                </c:pt>
                <c:pt idx="108">
                  <c:v>3132</c:v>
                </c:pt>
                <c:pt idx="109">
                  <c:v>2947</c:v>
                </c:pt>
                <c:pt idx="110">
                  <c:v>2830</c:v>
                </c:pt>
                <c:pt idx="111">
                  <c:v>2978</c:v>
                </c:pt>
                <c:pt idx="112">
                  <c:v>3037</c:v>
                </c:pt>
                <c:pt idx="113">
                  <c:v>3147</c:v>
                </c:pt>
                <c:pt idx="114">
                  <c:v>3128</c:v>
                </c:pt>
                <c:pt idx="115">
                  <c:v>2973</c:v>
                </c:pt>
                <c:pt idx="116">
                  <c:v>2904</c:v>
                </c:pt>
                <c:pt idx="117">
                  <c:v>2873</c:v>
                </c:pt>
                <c:pt idx="118">
                  <c:v>3030</c:v>
                </c:pt>
                <c:pt idx="119">
                  <c:v>3165</c:v>
                </c:pt>
                <c:pt idx="120">
                  <c:v>3337</c:v>
                </c:pt>
                <c:pt idx="121">
                  <c:v>3485</c:v>
                </c:pt>
                <c:pt idx="122">
                  <c:v>3256</c:v>
                </c:pt>
                <c:pt idx="123">
                  <c:v>3150</c:v>
                </c:pt>
                <c:pt idx="124">
                  <c:v>2917</c:v>
                </c:pt>
                <c:pt idx="125">
                  <c:v>3408</c:v>
                </c:pt>
                <c:pt idx="126">
                  <c:v>3616</c:v>
                </c:pt>
                <c:pt idx="127">
                  <c:v>3779</c:v>
                </c:pt>
                <c:pt idx="128">
                  <c:v>3980</c:v>
                </c:pt>
                <c:pt idx="129">
                  <c:v>3882</c:v>
                </c:pt>
                <c:pt idx="130">
                  <c:v>3633</c:v>
                </c:pt>
                <c:pt idx="131">
                  <c:v>3368</c:v>
                </c:pt>
                <c:pt idx="132">
                  <c:v>3654</c:v>
                </c:pt>
                <c:pt idx="133">
                  <c:v>3802</c:v>
                </c:pt>
                <c:pt idx="134">
                  <c:v>3976</c:v>
                </c:pt>
                <c:pt idx="135">
                  <c:v>4024</c:v>
                </c:pt>
                <c:pt idx="136">
                  <c:v>3798</c:v>
                </c:pt>
                <c:pt idx="137">
                  <c:v>3460</c:v>
                </c:pt>
                <c:pt idx="138">
                  <c:v>3195</c:v>
                </c:pt>
                <c:pt idx="139">
                  <c:v>3132</c:v>
                </c:pt>
                <c:pt idx="140">
                  <c:v>2968</c:v>
                </c:pt>
                <c:pt idx="141">
                  <c:v>3085</c:v>
                </c:pt>
                <c:pt idx="142">
                  <c:v>3183</c:v>
                </c:pt>
                <c:pt idx="143">
                  <c:v>2959</c:v>
                </c:pt>
                <c:pt idx="144">
                  <c:v>2816</c:v>
                </c:pt>
                <c:pt idx="145">
                  <c:v>2606</c:v>
                </c:pt>
                <c:pt idx="146">
                  <c:v>2579</c:v>
                </c:pt>
                <c:pt idx="147">
                  <c:v>2529</c:v>
                </c:pt>
                <c:pt idx="148">
                  <c:v>2607</c:v>
                </c:pt>
                <c:pt idx="149">
                  <c:v>2654</c:v>
                </c:pt>
                <c:pt idx="150">
                  <c:v>2428</c:v>
                </c:pt>
                <c:pt idx="151">
                  <c:v>2318</c:v>
                </c:pt>
                <c:pt idx="152">
                  <c:v>2103</c:v>
                </c:pt>
                <c:pt idx="153">
                  <c:v>2149</c:v>
                </c:pt>
                <c:pt idx="154">
                  <c:v>2163</c:v>
                </c:pt>
                <c:pt idx="155">
                  <c:v>2256</c:v>
                </c:pt>
                <c:pt idx="156">
                  <c:v>2306</c:v>
                </c:pt>
                <c:pt idx="157">
                  <c:v>2223</c:v>
                </c:pt>
                <c:pt idx="158">
                  <c:v>2092</c:v>
                </c:pt>
                <c:pt idx="159">
                  <c:v>1995</c:v>
                </c:pt>
                <c:pt idx="160">
                  <c:v>2033</c:v>
                </c:pt>
                <c:pt idx="161">
                  <c:v>1995</c:v>
                </c:pt>
                <c:pt idx="162">
                  <c:v>2050</c:v>
                </c:pt>
                <c:pt idx="163">
                  <c:v>2121</c:v>
                </c:pt>
                <c:pt idx="164">
                  <c:v>2048</c:v>
                </c:pt>
                <c:pt idx="165">
                  <c:v>1868</c:v>
                </c:pt>
                <c:pt idx="166">
                  <c:v>1725</c:v>
                </c:pt>
                <c:pt idx="167">
                  <c:v>1722</c:v>
                </c:pt>
                <c:pt idx="168">
                  <c:v>1628</c:v>
                </c:pt>
                <c:pt idx="169">
                  <c:v>1626</c:v>
                </c:pt>
                <c:pt idx="170">
                  <c:v>1655</c:v>
                </c:pt>
                <c:pt idx="171">
                  <c:v>1567</c:v>
                </c:pt>
                <c:pt idx="172">
                  <c:v>1466</c:v>
                </c:pt>
                <c:pt idx="173">
                  <c:v>1367</c:v>
                </c:pt>
                <c:pt idx="174">
                  <c:v>1441</c:v>
                </c:pt>
                <c:pt idx="175">
                  <c:v>1428</c:v>
                </c:pt>
                <c:pt idx="176">
                  <c:v>1455</c:v>
                </c:pt>
                <c:pt idx="177">
                  <c:v>1510</c:v>
                </c:pt>
                <c:pt idx="178">
                  <c:v>1476</c:v>
                </c:pt>
                <c:pt idx="179">
                  <c:v>1394</c:v>
                </c:pt>
                <c:pt idx="180">
                  <c:v>1340</c:v>
                </c:pt>
                <c:pt idx="181">
                  <c:v>1411</c:v>
                </c:pt>
                <c:pt idx="182">
                  <c:v>1370</c:v>
                </c:pt>
                <c:pt idx="183">
                  <c:v>1418</c:v>
                </c:pt>
                <c:pt idx="184">
                  <c:v>1436</c:v>
                </c:pt>
                <c:pt idx="185">
                  <c:v>1319</c:v>
                </c:pt>
                <c:pt idx="186">
                  <c:v>1239</c:v>
                </c:pt>
                <c:pt idx="187">
                  <c:v>1163</c:v>
                </c:pt>
                <c:pt idx="188">
                  <c:v>1176</c:v>
                </c:pt>
                <c:pt idx="189">
                  <c:v>1183</c:v>
                </c:pt>
                <c:pt idx="190">
                  <c:v>1244</c:v>
                </c:pt>
                <c:pt idx="191">
                  <c:v>1258</c:v>
                </c:pt>
                <c:pt idx="192">
                  <c:v>1295</c:v>
                </c:pt>
                <c:pt idx="193">
                  <c:v>1302</c:v>
                </c:pt>
                <c:pt idx="194">
                  <c:v>1308</c:v>
                </c:pt>
                <c:pt idx="195">
                  <c:v>1364</c:v>
                </c:pt>
                <c:pt idx="196">
                  <c:v>1262</c:v>
                </c:pt>
                <c:pt idx="197">
                  <c:v>1217</c:v>
                </c:pt>
                <c:pt idx="198">
                  <c:v>1166</c:v>
                </c:pt>
                <c:pt idx="199">
                  <c:v>1146</c:v>
                </c:pt>
                <c:pt idx="200">
                  <c:v>1093</c:v>
                </c:pt>
                <c:pt idx="201">
                  <c:v>1087</c:v>
                </c:pt>
                <c:pt idx="202">
                  <c:v>1115</c:v>
                </c:pt>
                <c:pt idx="203">
                  <c:v>1070</c:v>
                </c:pt>
                <c:pt idx="204">
                  <c:v>1011</c:v>
                </c:pt>
                <c:pt idx="205">
                  <c:v>978</c:v>
                </c:pt>
                <c:pt idx="206">
                  <c:v>948</c:v>
                </c:pt>
                <c:pt idx="207">
                  <c:v>891</c:v>
                </c:pt>
                <c:pt idx="208">
                  <c:v>882</c:v>
                </c:pt>
                <c:pt idx="209">
                  <c:v>901</c:v>
                </c:pt>
                <c:pt idx="210">
                  <c:v>855</c:v>
                </c:pt>
                <c:pt idx="211">
                  <c:v>819</c:v>
                </c:pt>
                <c:pt idx="212">
                  <c:v>795</c:v>
                </c:pt>
                <c:pt idx="213">
                  <c:v>741</c:v>
                </c:pt>
                <c:pt idx="214">
                  <c:v>715</c:v>
                </c:pt>
                <c:pt idx="215">
                  <c:v>713</c:v>
                </c:pt>
                <c:pt idx="216">
                  <c:v>714</c:v>
                </c:pt>
                <c:pt idx="217">
                  <c:v>670</c:v>
                </c:pt>
                <c:pt idx="218">
                  <c:v>659</c:v>
                </c:pt>
                <c:pt idx="219">
                  <c:v>642</c:v>
                </c:pt>
                <c:pt idx="220">
                  <c:v>607</c:v>
                </c:pt>
                <c:pt idx="221">
                  <c:v>587</c:v>
                </c:pt>
                <c:pt idx="222">
                  <c:v>582</c:v>
                </c:pt>
                <c:pt idx="223">
                  <c:v>587</c:v>
                </c:pt>
                <c:pt idx="224">
                  <c:v>552</c:v>
                </c:pt>
                <c:pt idx="225">
                  <c:v>523</c:v>
                </c:pt>
                <c:pt idx="226">
                  <c:v>507</c:v>
                </c:pt>
                <c:pt idx="227">
                  <c:v>489</c:v>
                </c:pt>
                <c:pt idx="228">
                  <c:v>486</c:v>
                </c:pt>
                <c:pt idx="229">
                  <c:v>484</c:v>
                </c:pt>
                <c:pt idx="230">
                  <c:v>496</c:v>
                </c:pt>
                <c:pt idx="231">
                  <c:v>484</c:v>
                </c:pt>
                <c:pt idx="232">
                  <c:v>453</c:v>
                </c:pt>
                <c:pt idx="233">
                  <c:v>434</c:v>
                </c:pt>
                <c:pt idx="234">
                  <c:v>428</c:v>
                </c:pt>
                <c:pt idx="235">
                  <c:v>415</c:v>
                </c:pt>
                <c:pt idx="236">
                  <c:v>412</c:v>
                </c:pt>
                <c:pt idx="237">
                  <c:v>416</c:v>
                </c:pt>
                <c:pt idx="238">
                  <c:v>411</c:v>
                </c:pt>
                <c:pt idx="239">
                  <c:v>405</c:v>
                </c:pt>
                <c:pt idx="240">
                  <c:v>400</c:v>
                </c:pt>
                <c:pt idx="241">
                  <c:v>397</c:v>
                </c:pt>
                <c:pt idx="242">
                  <c:v>388</c:v>
                </c:pt>
                <c:pt idx="243">
                  <c:v>387</c:v>
                </c:pt>
                <c:pt idx="244">
                  <c:v>389</c:v>
                </c:pt>
                <c:pt idx="245">
                  <c:v>375</c:v>
                </c:pt>
                <c:pt idx="246">
                  <c:v>367</c:v>
                </c:pt>
                <c:pt idx="247">
                  <c:v>362</c:v>
                </c:pt>
                <c:pt idx="248">
                  <c:v>359</c:v>
                </c:pt>
                <c:pt idx="249">
                  <c:v>348</c:v>
                </c:pt>
                <c:pt idx="250">
                  <c:v>349</c:v>
                </c:pt>
                <c:pt idx="251">
                  <c:v>354</c:v>
                </c:pt>
                <c:pt idx="252">
                  <c:v>350</c:v>
                </c:pt>
                <c:pt idx="253">
                  <c:v>343</c:v>
                </c:pt>
                <c:pt idx="254">
                  <c:v>342</c:v>
                </c:pt>
                <c:pt idx="255">
                  <c:v>341</c:v>
                </c:pt>
                <c:pt idx="256">
                  <c:v>336</c:v>
                </c:pt>
                <c:pt idx="257">
                  <c:v>335</c:v>
                </c:pt>
                <c:pt idx="258">
                  <c:v>338</c:v>
                </c:pt>
                <c:pt idx="259">
                  <c:v>335</c:v>
                </c:pt>
                <c:pt idx="260">
                  <c:v>333</c:v>
                </c:pt>
                <c:pt idx="261">
                  <c:v>331</c:v>
                </c:pt>
                <c:pt idx="262">
                  <c:v>330</c:v>
                </c:pt>
                <c:pt idx="263">
                  <c:v>326</c:v>
                </c:pt>
                <c:pt idx="264">
                  <c:v>325</c:v>
                </c:pt>
                <c:pt idx="265">
                  <c:v>328</c:v>
                </c:pt>
                <c:pt idx="266">
                  <c:v>325</c:v>
                </c:pt>
                <c:pt idx="267">
                  <c:v>321</c:v>
                </c:pt>
                <c:pt idx="268">
                  <c:v>318</c:v>
                </c:pt>
                <c:pt idx="269">
                  <c:v>315</c:v>
                </c:pt>
                <c:pt idx="270">
                  <c:v>313</c:v>
                </c:pt>
                <c:pt idx="271">
                  <c:v>310</c:v>
                </c:pt>
                <c:pt idx="272">
                  <c:v>308</c:v>
                </c:pt>
                <c:pt idx="273">
                  <c:v>304</c:v>
                </c:pt>
                <c:pt idx="274">
                  <c:v>304</c:v>
                </c:pt>
                <c:pt idx="275">
                  <c:v>299</c:v>
                </c:pt>
                <c:pt idx="276">
                  <c:v>293</c:v>
                </c:pt>
                <c:pt idx="277">
                  <c:v>292</c:v>
                </c:pt>
                <c:pt idx="278">
                  <c:v>292</c:v>
                </c:pt>
                <c:pt idx="279">
                  <c:v>291</c:v>
                </c:pt>
                <c:pt idx="280">
                  <c:v>289</c:v>
                </c:pt>
                <c:pt idx="281">
                  <c:v>286</c:v>
                </c:pt>
                <c:pt idx="282">
                  <c:v>285</c:v>
                </c:pt>
                <c:pt idx="283">
                  <c:v>286</c:v>
                </c:pt>
                <c:pt idx="284">
                  <c:v>283</c:v>
                </c:pt>
                <c:pt idx="285">
                  <c:v>283</c:v>
                </c:pt>
                <c:pt idx="286">
                  <c:v>283</c:v>
                </c:pt>
                <c:pt idx="287">
                  <c:v>283</c:v>
                </c:pt>
                <c:pt idx="288">
                  <c:v>283</c:v>
                </c:pt>
                <c:pt idx="289">
                  <c:v>282</c:v>
                </c:pt>
                <c:pt idx="290">
                  <c:v>282</c:v>
                </c:pt>
                <c:pt idx="291">
                  <c:v>282</c:v>
                </c:pt>
                <c:pt idx="292">
                  <c:v>282</c:v>
                </c:pt>
                <c:pt idx="293">
                  <c:v>282</c:v>
                </c:pt>
                <c:pt idx="294">
                  <c:v>282</c:v>
                </c:pt>
                <c:pt idx="295">
                  <c:v>283</c:v>
                </c:pt>
                <c:pt idx="296">
                  <c:v>283</c:v>
                </c:pt>
                <c:pt idx="297">
                  <c:v>281</c:v>
                </c:pt>
                <c:pt idx="298">
                  <c:v>281</c:v>
                </c:pt>
                <c:pt idx="299">
                  <c:v>281</c:v>
                </c:pt>
                <c:pt idx="300">
                  <c:v>281</c:v>
                </c:pt>
                <c:pt idx="301">
                  <c:v>281</c:v>
                </c:pt>
                <c:pt idx="302">
                  <c:v>281</c:v>
                </c:pt>
                <c:pt idx="303">
                  <c:v>282</c:v>
                </c:pt>
                <c:pt idx="304">
                  <c:v>280</c:v>
                </c:pt>
                <c:pt idx="305">
                  <c:v>280</c:v>
                </c:pt>
                <c:pt idx="306">
                  <c:v>281</c:v>
                </c:pt>
                <c:pt idx="307">
                  <c:v>281</c:v>
                </c:pt>
                <c:pt idx="308">
                  <c:v>281</c:v>
                </c:pt>
                <c:pt idx="309">
                  <c:v>281</c:v>
                </c:pt>
                <c:pt idx="310">
                  <c:v>280</c:v>
                </c:pt>
                <c:pt idx="311">
                  <c:v>280</c:v>
                </c:pt>
                <c:pt idx="312">
                  <c:v>280</c:v>
                </c:pt>
                <c:pt idx="313">
                  <c:v>281</c:v>
                </c:pt>
                <c:pt idx="314">
                  <c:v>281</c:v>
                </c:pt>
                <c:pt idx="315">
                  <c:v>281</c:v>
                </c:pt>
                <c:pt idx="316">
                  <c:v>281</c:v>
                </c:pt>
                <c:pt idx="317">
                  <c:v>281</c:v>
                </c:pt>
                <c:pt idx="318">
                  <c:v>280</c:v>
                </c:pt>
                <c:pt idx="319">
                  <c:v>280</c:v>
                </c:pt>
                <c:pt idx="320">
                  <c:v>280</c:v>
                </c:pt>
                <c:pt idx="321">
                  <c:v>280</c:v>
                </c:pt>
                <c:pt idx="322">
                  <c:v>279</c:v>
                </c:pt>
                <c:pt idx="323">
                  <c:v>280</c:v>
                </c:pt>
                <c:pt idx="324">
                  <c:v>279</c:v>
                </c:pt>
                <c:pt idx="325">
                  <c:v>279</c:v>
                </c:pt>
                <c:pt idx="326">
                  <c:v>279</c:v>
                </c:pt>
                <c:pt idx="327">
                  <c:v>278</c:v>
                </c:pt>
                <c:pt idx="328">
                  <c:v>277</c:v>
                </c:pt>
                <c:pt idx="329">
                  <c:v>278</c:v>
                </c:pt>
                <c:pt idx="330">
                  <c:v>279</c:v>
                </c:pt>
                <c:pt idx="331">
                  <c:v>279</c:v>
                </c:pt>
                <c:pt idx="332">
                  <c:v>278</c:v>
                </c:pt>
                <c:pt idx="333">
                  <c:v>278</c:v>
                </c:pt>
                <c:pt idx="334">
                  <c:v>278</c:v>
                </c:pt>
                <c:pt idx="335">
                  <c:v>278</c:v>
                </c:pt>
                <c:pt idx="336">
                  <c:v>277</c:v>
                </c:pt>
                <c:pt idx="337">
                  <c:v>277</c:v>
                </c:pt>
                <c:pt idx="338">
                  <c:v>276</c:v>
                </c:pt>
                <c:pt idx="339">
                  <c:v>276</c:v>
                </c:pt>
                <c:pt idx="340">
                  <c:v>276</c:v>
                </c:pt>
                <c:pt idx="341">
                  <c:v>277</c:v>
                </c:pt>
                <c:pt idx="342">
                  <c:v>277</c:v>
                </c:pt>
                <c:pt idx="343">
                  <c:v>276</c:v>
                </c:pt>
                <c:pt idx="344">
                  <c:v>276</c:v>
                </c:pt>
                <c:pt idx="345">
                  <c:v>276</c:v>
                </c:pt>
                <c:pt idx="346">
                  <c:v>276</c:v>
                </c:pt>
                <c:pt idx="347">
                  <c:v>276</c:v>
                </c:pt>
                <c:pt idx="348">
                  <c:v>276</c:v>
                </c:pt>
                <c:pt idx="349">
                  <c:v>277</c:v>
                </c:pt>
                <c:pt idx="350">
                  <c:v>277</c:v>
                </c:pt>
                <c:pt idx="351">
                  <c:v>277</c:v>
                </c:pt>
                <c:pt idx="352">
                  <c:v>278</c:v>
                </c:pt>
                <c:pt idx="353">
                  <c:v>277</c:v>
                </c:pt>
                <c:pt idx="354">
                  <c:v>277</c:v>
                </c:pt>
                <c:pt idx="355">
                  <c:v>277</c:v>
                </c:pt>
                <c:pt idx="356">
                  <c:v>280</c:v>
                </c:pt>
                <c:pt idx="357">
                  <c:v>280</c:v>
                </c:pt>
                <c:pt idx="358">
                  <c:v>280</c:v>
                </c:pt>
                <c:pt idx="359">
                  <c:v>280</c:v>
                </c:pt>
                <c:pt idx="360">
                  <c:v>281</c:v>
                </c:pt>
                <c:pt idx="361">
                  <c:v>280</c:v>
                </c:pt>
                <c:pt idx="362">
                  <c:v>280</c:v>
                </c:pt>
                <c:pt idx="363">
                  <c:v>280</c:v>
                </c:pt>
                <c:pt idx="364">
                  <c:v>280</c:v>
                </c:pt>
                <c:pt idx="365">
                  <c:v>283</c:v>
                </c:pt>
                <c:pt idx="366">
                  <c:v>288</c:v>
                </c:pt>
                <c:pt idx="367">
                  <c:v>291</c:v>
                </c:pt>
                <c:pt idx="368">
                  <c:v>292</c:v>
                </c:pt>
                <c:pt idx="369">
                  <c:v>291</c:v>
                </c:pt>
                <c:pt idx="370">
                  <c:v>296</c:v>
                </c:pt>
                <c:pt idx="371">
                  <c:v>294</c:v>
                </c:pt>
                <c:pt idx="372">
                  <c:v>295</c:v>
                </c:pt>
                <c:pt idx="373">
                  <c:v>296</c:v>
                </c:pt>
                <c:pt idx="374">
                  <c:v>296</c:v>
                </c:pt>
                <c:pt idx="375">
                  <c:v>295</c:v>
                </c:pt>
                <c:pt idx="376">
                  <c:v>294</c:v>
                </c:pt>
                <c:pt idx="377">
                  <c:v>295</c:v>
                </c:pt>
                <c:pt idx="378">
                  <c:v>296</c:v>
                </c:pt>
                <c:pt idx="379">
                  <c:v>295</c:v>
                </c:pt>
                <c:pt idx="380">
                  <c:v>294</c:v>
                </c:pt>
                <c:pt idx="381">
                  <c:v>291</c:v>
                </c:pt>
                <c:pt idx="382">
                  <c:v>289</c:v>
                </c:pt>
                <c:pt idx="383">
                  <c:v>289</c:v>
                </c:pt>
                <c:pt idx="384">
                  <c:v>294</c:v>
                </c:pt>
                <c:pt idx="385">
                  <c:v>293</c:v>
                </c:pt>
                <c:pt idx="386">
                  <c:v>293</c:v>
                </c:pt>
                <c:pt idx="387">
                  <c:v>291</c:v>
                </c:pt>
                <c:pt idx="388">
                  <c:v>291</c:v>
                </c:pt>
                <c:pt idx="389">
                  <c:v>292</c:v>
                </c:pt>
                <c:pt idx="390">
                  <c:v>293</c:v>
                </c:pt>
                <c:pt idx="391">
                  <c:v>299</c:v>
                </c:pt>
                <c:pt idx="392">
                  <c:v>299</c:v>
                </c:pt>
                <c:pt idx="393">
                  <c:v>305</c:v>
                </c:pt>
                <c:pt idx="394">
                  <c:v>306</c:v>
                </c:pt>
                <c:pt idx="395">
                  <c:v>308</c:v>
                </c:pt>
                <c:pt idx="396">
                  <c:v>308</c:v>
                </c:pt>
                <c:pt idx="397">
                  <c:v>308</c:v>
                </c:pt>
                <c:pt idx="398">
                  <c:v>312</c:v>
                </c:pt>
                <c:pt idx="399">
                  <c:v>316</c:v>
                </c:pt>
                <c:pt idx="400">
                  <c:v>324</c:v>
                </c:pt>
                <c:pt idx="401">
                  <c:v>324</c:v>
                </c:pt>
                <c:pt idx="402">
                  <c:v>350</c:v>
                </c:pt>
                <c:pt idx="403">
                  <c:v>351</c:v>
                </c:pt>
                <c:pt idx="404">
                  <c:v>349</c:v>
                </c:pt>
                <c:pt idx="405">
                  <c:v>352</c:v>
                </c:pt>
                <c:pt idx="406">
                  <c:v>348</c:v>
                </c:pt>
                <c:pt idx="407">
                  <c:v>367</c:v>
                </c:pt>
                <c:pt idx="408">
                  <c:v>365</c:v>
                </c:pt>
                <c:pt idx="409">
                  <c:v>370</c:v>
                </c:pt>
                <c:pt idx="410">
                  <c:v>370</c:v>
                </c:pt>
                <c:pt idx="411">
                  <c:v>370</c:v>
                </c:pt>
                <c:pt idx="412">
                  <c:v>386</c:v>
                </c:pt>
                <c:pt idx="413">
                  <c:v>390</c:v>
                </c:pt>
                <c:pt idx="414">
                  <c:v>393</c:v>
                </c:pt>
                <c:pt idx="415">
                  <c:v>396</c:v>
                </c:pt>
                <c:pt idx="416">
                  <c:v>385</c:v>
                </c:pt>
                <c:pt idx="417">
                  <c:v>380</c:v>
                </c:pt>
                <c:pt idx="418">
                  <c:v>381</c:v>
                </c:pt>
                <c:pt idx="419">
                  <c:v>412</c:v>
                </c:pt>
                <c:pt idx="420">
                  <c:v>422</c:v>
                </c:pt>
                <c:pt idx="421">
                  <c:v>444</c:v>
                </c:pt>
                <c:pt idx="422">
                  <c:v>429</c:v>
                </c:pt>
                <c:pt idx="423">
                  <c:v>452</c:v>
                </c:pt>
                <c:pt idx="424">
                  <c:v>455</c:v>
                </c:pt>
                <c:pt idx="425">
                  <c:v>465</c:v>
                </c:pt>
                <c:pt idx="426">
                  <c:v>540</c:v>
                </c:pt>
                <c:pt idx="427">
                  <c:v>560</c:v>
                </c:pt>
                <c:pt idx="428">
                  <c:v>577</c:v>
                </c:pt>
                <c:pt idx="429">
                  <c:v>637</c:v>
                </c:pt>
                <c:pt idx="430">
                  <c:v>674</c:v>
                </c:pt>
                <c:pt idx="431">
                  <c:v>675</c:v>
                </c:pt>
                <c:pt idx="432">
                  <c:v>676</c:v>
                </c:pt>
                <c:pt idx="433">
                  <c:v>746</c:v>
                </c:pt>
                <c:pt idx="434">
                  <c:v>772</c:v>
                </c:pt>
                <c:pt idx="435">
                  <c:v>788</c:v>
                </c:pt>
                <c:pt idx="436">
                  <c:v>822</c:v>
                </c:pt>
                <c:pt idx="437">
                  <c:v>863</c:v>
                </c:pt>
                <c:pt idx="438">
                  <c:v>869</c:v>
                </c:pt>
                <c:pt idx="439">
                  <c:v>880</c:v>
                </c:pt>
                <c:pt idx="440">
                  <c:v>957</c:v>
                </c:pt>
                <c:pt idx="441">
                  <c:v>955</c:v>
                </c:pt>
                <c:pt idx="442">
                  <c:v>940</c:v>
                </c:pt>
                <c:pt idx="443">
                  <c:v>988</c:v>
                </c:pt>
                <c:pt idx="444">
                  <c:v>1067</c:v>
                </c:pt>
                <c:pt idx="445">
                  <c:v>1057</c:v>
                </c:pt>
                <c:pt idx="446">
                  <c:v>1051</c:v>
                </c:pt>
                <c:pt idx="447">
                  <c:v>1150</c:v>
                </c:pt>
                <c:pt idx="448">
                  <c:v>1140</c:v>
                </c:pt>
                <c:pt idx="449">
                  <c:v>1155</c:v>
                </c:pt>
                <c:pt idx="450">
                  <c:v>1156</c:v>
                </c:pt>
                <c:pt idx="451">
                  <c:v>1193</c:v>
                </c:pt>
                <c:pt idx="452">
                  <c:v>1163</c:v>
                </c:pt>
                <c:pt idx="453">
                  <c:v>1153</c:v>
                </c:pt>
                <c:pt idx="454">
                  <c:v>1207</c:v>
                </c:pt>
                <c:pt idx="455">
                  <c:v>1156</c:v>
                </c:pt>
                <c:pt idx="456">
                  <c:v>1114</c:v>
                </c:pt>
                <c:pt idx="457">
                  <c:v>1127</c:v>
                </c:pt>
                <c:pt idx="458">
                  <c:v>987</c:v>
                </c:pt>
                <c:pt idx="459">
                  <c:v>979</c:v>
                </c:pt>
                <c:pt idx="460">
                  <c:v>949</c:v>
                </c:pt>
                <c:pt idx="461">
                  <c:v>992</c:v>
                </c:pt>
                <c:pt idx="462">
                  <c:v>934</c:v>
                </c:pt>
                <c:pt idx="463">
                  <c:v>910</c:v>
                </c:pt>
                <c:pt idx="464">
                  <c:v>874</c:v>
                </c:pt>
                <c:pt idx="465">
                  <c:v>811</c:v>
                </c:pt>
                <c:pt idx="466">
                  <c:v>761</c:v>
                </c:pt>
                <c:pt idx="467">
                  <c:v>750</c:v>
                </c:pt>
                <c:pt idx="468">
                  <c:v>762</c:v>
                </c:pt>
                <c:pt idx="469">
                  <c:v>716</c:v>
                </c:pt>
                <c:pt idx="470">
                  <c:v>672</c:v>
                </c:pt>
                <c:pt idx="471">
                  <c:v>632</c:v>
                </c:pt>
                <c:pt idx="472">
                  <c:v>646</c:v>
                </c:pt>
                <c:pt idx="473">
                  <c:v>598</c:v>
                </c:pt>
                <c:pt idx="474">
                  <c:v>5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C7-418F-9894-CC9725FB54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Úmrtí klientů podle</a:t>
            </a:r>
            <a:r>
              <a:rPr lang="cs-CZ" baseline="0" dirty="0">
                <a:solidFill>
                  <a:schemeClr val="tx1"/>
                </a:solidFill>
              </a:rPr>
              <a:t> věku kumulativně</a:t>
            </a:r>
            <a:endParaRPr lang="cs-CZ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očet klientů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2</c:f>
              <c:numCache>
                <c:formatCode>General</c:formatCode>
                <c:ptCount val="101"/>
                <c:pt idx="0">
                  <c:v>4</c:v>
                </c:pt>
                <c:pt idx="1">
                  <c:v>6</c:v>
                </c:pt>
                <c:pt idx="2">
                  <c:v>7</c:v>
                </c:pt>
                <c:pt idx="3">
                  <c:v>8</c:v>
                </c:pt>
                <c:pt idx="4">
                  <c:v>9</c:v>
                </c:pt>
                <c:pt idx="5">
                  <c:v>10</c:v>
                </c:pt>
                <c:pt idx="6">
                  <c:v>11</c:v>
                </c:pt>
                <c:pt idx="7">
                  <c:v>12</c:v>
                </c:pt>
                <c:pt idx="8">
                  <c:v>13</c:v>
                </c:pt>
                <c:pt idx="9">
                  <c:v>14</c:v>
                </c:pt>
                <c:pt idx="10">
                  <c:v>15</c:v>
                </c:pt>
                <c:pt idx="11">
                  <c:v>16</c:v>
                </c:pt>
                <c:pt idx="12">
                  <c:v>17</c:v>
                </c:pt>
                <c:pt idx="13">
                  <c:v>18</c:v>
                </c:pt>
                <c:pt idx="14">
                  <c:v>19</c:v>
                </c:pt>
                <c:pt idx="15">
                  <c:v>20</c:v>
                </c:pt>
                <c:pt idx="16">
                  <c:v>21</c:v>
                </c:pt>
                <c:pt idx="17">
                  <c:v>22</c:v>
                </c:pt>
                <c:pt idx="18">
                  <c:v>23</c:v>
                </c:pt>
                <c:pt idx="19">
                  <c:v>24</c:v>
                </c:pt>
                <c:pt idx="20">
                  <c:v>25</c:v>
                </c:pt>
                <c:pt idx="21">
                  <c:v>26</c:v>
                </c:pt>
                <c:pt idx="22">
                  <c:v>27</c:v>
                </c:pt>
                <c:pt idx="23">
                  <c:v>28</c:v>
                </c:pt>
                <c:pt idx="24">
                  <c:v>29</c:v>
                </c:pt>
                <c:pt idx="25">
                  <c:v>30</c:v>
                </c:pt>
                <c:pt idx="26">
                  <c:v>31</c:v>
                </c:pt>
                <c:pt idx="27">
                  <c:v>32</c:v>
                </c:pt>
                <c:pt idx="28">
                  <c:v>33</c:v>
                </c:pt>
                <c:pt idx="29">
                  <c:v>34</c:v>
                </c:pt>
                <c:pt idx="30">
                  <c:v>35</c:v>
                </c:pt>
                <c:pt idx="31">
                  <c:v>36</c:v>
                </c:pt>
                <c:pt idx="32">
                  <c:v>37</c:v>
                </c:pt>
                <c:pt idx="33">
                  <c:v>38</c:v>
                </c:pt>
                <c:pt idx="34">
                  <c:v>39</c:v>
                </c:pt>
                <c:pt idx="35">
                  <c:v>40</c:v>
                </c:pt>
                <c:pt idx="36">
                  <c:v>41</c:v>
                </c:pt>
                <c:pt idx="37">
                  <c:v>42</c:v>
                </c:pt>
                <c:pt idx="38">
                  <c:v>43</c:v>
                </c:pt>
                <c:pt idx="39">
                  <c:v>44</c:v>
                </c:pt>
                <c:pt idx="40">
                  <c:v>45</c:v>
                </c:pt>
                <c:pt idx="41">
                  <c:v>46</c:v>
                </c:pt>
                <c:pt idx="42">
                  <c:v>47</c:v>
                </c:pt>
                <c:pt idx="43">
                  <c:v>48</c:v>
                </c:pt>
                <c:pt idx="44">
                  <c:v>49</c:v>
                </c:pt>
                <c:pt idx="45">
                  <c:v>50</c:v>
                </c:pt>
                <c:pt idx="46">
                  <c:v>51</c:v>
                </c:pt>
                <c:pt idx="47">
                  <c:v>52</c:v>
                </c:pt>
                <c:pt idx="48">
                  <c:v>53</c:v>
                </c:pt>
                <c:pt idx="49">
                  <c:v>54</c:v>
                </c:pt>
                <c:pt idx="50">
                  <c:v>55</c:v>
                </c:pt>
                <c:pt idx="51">
                  <c:v>56</c:v>
                </c:pt>
                <c:pt idx="52">
                  <c:v>57</c:v>
                </c:pt>
                <c:pt idx="53">
                  <c:v>58</c:v>
                </c:pt>
                <c:pt idx="54">
                  <c:v>59</c:v>
                </c:pt>
                <c:pt idx="55">
                  <c:v>60</c:v>
                </c:pt>
                <c:pt idx="56">
                  <c:v>61</c:v>
                </c:pt>
                <c:pt idx="57">
                  <c:v>62</c:v>
                </c:pt>
                <c:pt idx="58">
                  <c:v>63</c:v>
                </c:pt>
                <c:pt idx="59">
                  <c:v>64</c:v>
                </c:pt>
                <c:pt idx="60">
                  <c:v>65</c:v>
                </c:pt>
                <c:pt idx="61">
                  <c:v>66</c:v>
                </c:pt>
                <c:pt idx="62">
                  <c:v>67</c:v>
                </c:pt>
                <c:pt idx="63">
                  <c:v>68</c:v>
                </c:pt>
                <c:pt idx="64">
                  <c:v>69</c:v>
                </c:pt>
                <c:pt idx="65">
                  <c:v>70</c:v>
                </c:pt>
                <c:pt idx="66">
                  <c:v>71</c:v>
                </c:pt>
                <c:pt idx="67">
                  <c:v>72</c:v>
                </c:pt>
                <c:pt idx="68">
                  <c:v>73</c:v>
                </c:pt>
                <c:pt idx="69">
                  <c:v>74</c:v>
                </c:pt>
                <c:pt idx="70">
                  <c:v>75</c:v>
                </c:pt>
                <c:pt idx="71">
                  <c:v>76</c:v>
                </c:pt>
                <c:pt idx="72">
                  <c:v>77</c:v>
                </c:pt>
                <c:pt idx="73">
                  <c:v>78</c:v>
                </c:pt>
                <c:pt idx="74">
                  <c:v>79</c:v>
                </c:pt>
                <c:pt idx="75">
                  <c:v>80</c:v>
                </c:pt>
                <c:pt idx="76">
                  <c:v>81</c:v>
                </c:pt>
                <c:pt idx="77">
                  <c:v>82</c:v>
                </c:pt>
                <c:pt idx="78">
                  <c:v>83</c:v>
                </c:pt>
                <c:pt idx="79">
                  <c:v>84</c:v>
                </c:pt>
                <c:pt idx="80">
                  <c:v>85</c:v>
                </c:pt>
                <c:pt idx="81">
                  <c:v>86</c:v>
                </c:pt>
                <c:pt idx="82">
                  <c:v>87</c:v>
                </c:pt>
                <c:pt idx="83">
                  <c:v>88</c:v>
                </c:pt>
                <c:pt idx="84">
                  <c:v>89</c:v>
                </c:pt>
                <c:pt idx="85">
                  <c:v>90</c:v>
                </c:pt>
                <c:pt idx="86">
                  <c:v>91</c:v>
                </c:pt>
                <c:pt idx="87">
                  <c:v>92</c:v>
                </c:pt>
                <c:pt idx="88">
                  <c:v>93</c:v>
                </c:pt>
                <c:pt idx="89">
                  <c:v>94</c:v>
                </c:pt>
                <c:pt idx="90">
                  <c:v>95</c:v>
                </c:pt>
                <c:pt idx="91">
                  <c:v>96</c:v>
                </c:pt>
                <c:pt idx="92">
                  <c:v>97</c:v>
                </c:pt>
                <c:pt idx="93">
                  <c:v>98</c:v>
                </c:pt>
                <c:pt idx="94">
                  <c:v>99</c:v>
                </c:pt>
                <c:pt idx="95">
                  <c:v>100</c:v>
                </c:pt>
                <c:pt idx="96">
                  <c:v>101</c:v>
                </c:pt>
                <c:pt idx="97">
                  <c:v>102</c:v>
                </c:pt>
                <c:pt idx="98">
                  <c:v>103</c:v>
                </c:pt>
                <c:pt idx="99">
                  <c:v>104</c:v>
                </c:pt>
                <c:pt idx="100">
                  <c:v>107</c:v>
                </c:pt>
              </c:numCache>
            </c:numRef>
          </c:cat>
          <c:val>
            <c:numRef>
              <c:f>List1!$B$2:$B$102</c:f>
              <c:numCache>
                <c:formatCode>General</c:formatCode>
                <c:ptCount val="10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1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3</c:v>
                </c:pt>
                <c:pt idx="31">
                  <c:v>1</c:v>
                </c:pt>
                <c:pt idx="32">
                  <c:v>1</c:v>
                </c:pt>
                <c:pt idx="33">
                  <c:v>0</c:v>
                </c:pt>
                <c:pt idx="34">
                  <c:v>1</c:v>
                </c:pt>
                <c:pt idx="35">
                  <c:v>0</c:v>
                </c:pt>
                <c:pt idx="36">
                  <c:v>3</c:v>
                </c:pt>
                <c:pt idx="37">
                  <c:v>1</c:v>
                </c:pt>
                <c:pt idx="38">
                  <c:v>3</c:v>
                </c:pt>
                <c:pt idx="39">
                  <c:v>0</c:v>
                </c:pt>
                <c:pt idx="40">
                  <c:v>2</c:v>
                </c:pt>
                <c:pt idx="41">
                  <c:v>2</c:v>
                </c:pt>
                <c:pt idx="42">
                  <c:v>0</c:v>
                </c:pt>
                <c:pt idx="43">
                  <c:v>1</c:v>
                </c:pt>
                <c:pt idx="44">
                  <c:v>2</c:v>
                </c:pt>
                <c:pt idx="45">
                  <c:v>5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5</c:v>
                </c:pt>
                <c:pt idx="50">
                  <c:v>3</c:v>
                </c:pt>
                <c:pt idx="51">
                  <c:v>3</c:v>
                </c:pt>
                <c:pt idx="52">
                  <c:v>6</c:v>
                </c:pt>
                <c:pt idx="53">
                  <c:v>3</c:v>
                </c:pt>
                <c:pt idx="54">
                  <c:v>10</c:v>
                </c:pt>
                <c:pt idx="55">
                  <c:v>10</c:v>
                </c:pt>
                <c:pt idx="56">
                  <c:v>16</c:v>
                </c:pt>
                <c:pt idx="57">
                  <c:v>9</c:v>
                </c:pt>
                <c:pt idx="58">
                  <c:v>16</c:v>
                </c:pt>
                <c:pt idx="59">
                  <c:v>19</c:v>
                </c:pt>
                <c:pt idx="60">
                  <c:v>20</c:v>
                </c:pt>
                <c:pt idx="61">
                  <c:v>23</c:v>
                </c:pt>
                <c:pt idx="62">
                  <c:v>31</c:v>
                </c:pt>
                <c:pt idx="63">
                  <c:v>29</c:v>
                </c:pt>
                <c:pt idx="64">
                  <c:v>41</c:v>
                </c:pt>
                <c:pt idx="65">
                  <c:v>47</c:v>
                </c:pt>
                <c:pt idx="66">
                  <c:v>34</c:v>
                </c:pt>
                <c:pt idx="67">
                  <c:v>52</c:v>
                </c:pt>
                <c:pt idx="68">
                  <c:v>61</c:v>
                </c:pt>
                <c:pt idx="69">
                  <c:v>78</c:v>
                </c:pt>
                <c:pt idx="70">
                  <c:v>66</c:v>
                </c:pt>
                <c:pt idx="71">
                  <c:v>85</c:v>
                </c:pt>
                <c:pt idx="72">
                  <c:v>83</c:v>
                </c:pt>
                <c:pt idx="73">
                  <c:v>101</c:v>
                </c:pt>
                <c:pt idx="74">
                  <c:v>109</c:v>
                </c:pt>
                <c:pt idx="75">
                  <c:v>113</c:v>
                </c:pt>
                <c:pt idx="76">
                  <c:v>125</c:v>
                </c:pt>
                <c:pt idx="77">
                  <c:v>107</c:v>
                </c:pt>
                <c:pt idx="78">
                  <c:v>131</c:v>
                </c:pt>
                <c:pt idx="79">
                  <c:v>137</c:v>
                </c:pt>
                <c:pt idx="80">
                  <c:v>155</c:v>
                </c:pt>
                <c:pt idx="81">
                  <c:v>180</c:v>
                </c:pt>
                <c:pt idx="82">
                  <c:v>157</c:v>
                </c:pt>
                <c:pt idx="83">
                  <c:v>195</c:v>
                </c:pt>
                <c:pt idx="84">
                  <c:v>196</c:v>
                </c:pt>
                <c:pt idx="85">
                  <c:v>177</c:v>
                </c:pt>
                <c:pt idx="86">
                  <c:v>177</c:v>
                </c:pt>
                <c:pt idx="87">
                  <c:v>154</c:v>
                </c:pt>
                <c:pt idx="88">
                  <c:v>103</c:v>
                </c:pt>
                <c:pt idx="89">
                  <c:v>89</c:v>
                </c:pt>
                <c:pt idx="90">
                  <c:v>63</c:v>
                </c:pt>
                <c:pt idx="91">
                  <c:v>59</c:v>
                </c:pt>
                <c:pt idx="92">
                  <c:v>51</c:v>
                </c:pt>
                <c:pt idx="93">
                  <c:v>28</c:v>
                </c:pt>
                <c:pt idx="94">
                  <c:v>22</c:v>
                </c:pt>
                <c:pt idx="95">
                  <c:v>9</c:v>
                </c:pt>
                <c:pt idx="96">
                  <c:v>4</c:v>
                </c:pt>
                <c:pt idx="97">
                  <c:v>0</c:v>
                </c:pt>
                <c:pt idx="98">
                  <c:v>0</c:v>
                </c:pt>
                <c:pt idx="99">
                  <c:v>1</c:v>
                </c:pt>
                <c:pt idx="10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A-4DA2-A610-EEBC9E60CB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Pozitivní klienti podle věku kumulativně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2</c:f>
              <c:numCache>
                <c:formatCode>General</c:formatCode>
                <c:ptCount val="101"/>
                <c:pt idx="0">
                  <c:v>4</c:v>
                </c:pt>
                <c:pt idx="1">
                  <c:v>6</c:v>
                </c:pt>
                <c:pt idx="2">
                  <c:v>7</c:v>
                </c:pt>
                <c:pt idx="3">
                  <c:v>8</c:v>
                </c:pt>
                <c:pt idx="4">
                  <c:v>9</c:v>
                </c:pt>
                <c:pt idx="5">
                  <c:v>10</c:v>
                </c:pt>
                <c:pt idx="6">
                  <c:v>11</c:v>
                </c:pt>
                <c:pt idx="7">
                  <c:v>12</c:v>
                </c:pt>
                <c:pt idx="8">
                  <c:v>13</c:v>
                </c:pt>
                <c:pt idx="9">
                  <c:v>14</c:v>
                </c:pt>
                <c:pt idx="10">
                  <c:v>15</c:v>
                </c:pt>
                <c:pt idx="11">
                  <c:v>16</c:v>
                </c:pt>
                <c:pt idx="12">
                  <c:v>17</c:v>
                </c:pt>
                <c:pt idx="13">
                  <c:v>18</c:v>
                </c:pt>
                <c:pt idx="14">
                  <c:v>19</c:v>
                </c:pt>
                <c:pt idx="15">
                  <c:v>20</c:v>
                </c:pt>
                <c:pt idx="16">
                  <c:v>21</c:v>
                </c:pt>
                <c:pt idx="17">
                  <c:v>22</c:v>
                </c:pt>
                <c:pt idx="18">
                  <c:v>23</c:v>
                </c:pt>
                <c:pt idx="19">
                  <c:v>24</c:v>
                </c:pt>
                <c:pt idx="20">
                  <c:v>25</c:v>
                </c:pt>
                <c:pt idx="21">
                  <c:v>26</c:v>
                </c:pt>
                <c:pt idx="22">
                  <c:v>27</c:v>
                </c:pt>
                <c:pt idx="23">
                  <c:v>28</c:v>
                </c:pt>
                <c:pt idx="24">
                  <c:v>29</c:v>
                </c:pt>
                <c:pt idx="25">
                  <c:v>30</c:v>
                </c:pt>
                <c:pt idx="26">
                  <c:v>31</c:v>
                </c:pt>
                <c:pt idx="27">
                  <c:v>32</c:v>
                </c:pt>
                <c:pt idx="28">
                  <c:v>33</c:v>
                </c:pt>
                <c:pt idx="29">
                  <c:v>34</c:v>
                </c:pt>
                <c:pt idx="30">
                  <c:v>35</c:v>
                </c:pt>
                <c:pt idx="31">
                  <c:v>36</c:v>
                </c:pt>
                <c:pt idx="32">
                  <c:v>37</c:v>
                </c:pt>
                <c:pt idx="33">
                  <c:v>38</c:v>
                </c:pt>
                <c:pt idx="34">
                  <c:v>39</c:v>
                </c:pt>
                <c:pt idx="35">
                  <c:v>40</c:v>
                </c:pt>
                <c:pt idx="36">
                  <c:v>41</c:v>
                </c:pt>
                <c:pt idx="37">
                  <c:v>42</c:v>
                </c:pt>
                <c:pt idx="38">
                  <c:v>43</c:v>
                </c:pt>
                <c:pt idx="39">
                  <c:v>44</c:v>
                </c:pt>
                <c:pt idx="40">
                  <c:v>45</c:v>
                </c:pt>
                <c:pt idx="41">
                  <c:v>46</c:v>
                </c:pt>
                <c:pt idx="42">
                  <c:v>47</c:v>
                </c:pt>
                <c:pt idx="43">
                  <c:v>48</c:v>
                </c:pt>
                <c:pt idx="44">
                  <c:v>49</c:v>
                </c:pt>
                <c:pt idx="45">
                  <c:v>50</c:v>
                </c:pt>
                <c:pt idx="46">
                  <c:v>51</c:v>
                </c:pt>
                <c:pt idx="47">
                  <c:v>52</c:v>
                </c:pt>
                <c:pt idx="48">
                  <c:v>53</c:v>
                </c:pt>
                <c:pt idx="49">
                  <c:v>54</c:v>
                </c:pt>
                <c:pt idx="50">
                  <c:v>55</c:v>
                </c:pt>
                <c:pt idx="51">
                  <c:v>56</c:v>
                </c:pt>
                <c:pt idx="52">
                  <c:v>57</c:v>
                </c:pt>
                <c:pt idx="53">
                  <c:v>58</c:v>
                </c:pt>
                <c:pt idx="54">
                  <c:v>59</c:v>
                </c:pt>
                <c:pt idx="55">
                  <c:v>60</c:v>
                </c:pt>
                <c:pt idx="56">
                  <c:v>61</c:v>
                </c:pt>
                <c:pt idx="57">
                  <c:v>62</c:v>
                </c:pt>
                <c:pt idx="58">
                  <c:v>63</c:v>
                </c:pt>
                <c:pt idx="59">
                  <c:v>64</c:v>
                </c:pt>
                <c:pt idx="60">
                  <c:v>65</c:v>
                </c:pt>
                <c:pt idx="61">
                  <c:v>66</c:v>
                </c:pt>
                <c:pt idx="62">
                  <c:v>67</c:v>
                </c:pt>
                <c:pt idx="63">
                  <c:v>68</c:v>
                </c:pt>
                <c:pt idx="64">
                  <c:v>69</c:v>
                </c:pt>
                <c:pt idx="65">
                  <c:v>70</c:v>
                </c:pt>
                <c:pt idx="66">
                  <c:v>71</c:v>
                </c:pt>
                <c:pt idx="67">
                  <c:v>72</c:v>
                </c:pt>
                <c:pt idx="68">
                  <c:v>73</c:v>
                </c:pt>
                <c:pt idx="69">
                  <c:v>74</c:v>
                </c:pt>
                <c:pt idx="70">
                  <c:v>75</c:v>
                </c:pt>
                <c:pt idx="71">
                  <c:v>76</c:v>
                </c:pt>
                <c:pt idx="72">
                  <c:v>77</c:v>
                </c:pt>
                <c:pt idx="73">
                  <c:v>78</c:v>
                </c:pt>
                <c:pt idx="74">
                  <c:v>79</c:v>
                </c:pt>
                <c:pt idx="75">
                  <c:v>80</c:v>
                </c:pt>
                <c:pt idx="76">
                  <c:v>81</c:v>
                </c:pt>
                <c:pt idx="77">
                  <c:v>82</c:v>
                </c:pt>
                <c:pt idx="78">
                  <c:v>83</c:v>
                </c:pt>
                <c:pt idx="79">
                  <c:v>84</c:v>
                </c:pt>
                <c:pt idx="80">
                  <c:v>85</c:v>
                </c:pt>
                <c:pt idx="81">
                  <c:v>86</c:v>
                </c:pt>
                <c:pt idx="82">
                  <c:v>87</c:v>
                </c:pt>
                <c:pt idx="83">
                  <c:v>88</c:v>
                </c:pt>
                <c:pt idx="84">
                  <c:v>89</c:v>
                </c:pt>
                <c:pt idx="85">
                  <c:v>90</c:v>
                </c:pt>
                <c:pt idx="86">
                  <c:v>91</c:v>
                </c:pt>
                <c:pt idx="87">
                  <c:v>92</c:v>
                </c:pt>
                <c:pt idx="88">
                  <c:v>93</c:v>
                </c:pt>
                <c:pt idx="89">
                  <c:v>94</c:v>
                </c:pt>
                <c:pt idx="90">
                  <c:v>95</c:v>
                </c:pt>
                <c:pt idx="91">
                  <c:v>96</c:v>
                </c:pt>
                <c:pt idx="92">
                  <c:v>97</c:v>
                </c:pt>
                <c:pt idx="93">
                  <c:v>98</c:v>
                </c:pt>
                <c:pt idx="94">
                  <c:v>99</c:v>
                </c:pt>
                <c:pt idx="95">
                  <c:v>100</c:v>
                </c:pt>
                <c:pt idx="96">
                  <c:v>101</c:v>
                </c:pt>
                <c:pt idx="97">
                  <c:v>102</c:v>
                </c:pt>
                <c:pt idx="98">
                  <c:v>103</c:v>
                </c:pt>
                <c:pt idx="99">
                  <c:v>104</c:v>
                </c:pt>
                <c:pt idx="100">
                  <c:v>107</c:v>
                </c:pt>
              </c:numCache>
            </c:numRef>
          </c:cat>
          <c:val>
            <c:numRef>
              <c:f>List1!$B$2:$B$102</c:f>
              <c:numCache>
                <c:formatCode>General</c:formatCode>
                <c:ptCount val="101"/>
                <c:pt idx="0">
                  <c:v>1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9</c:v>
                </c:pt>
                <c:pt idx="5">
                  <c:v>2</c:v>
                </c:pt>
                <c:pt idx="6">
                  <c:v>14</c:v>
                </c:pt>
                <c:pt idx="7">
                  <c:v>12</c:v>
                </c:pt>
                <c:pt idx="8">
                  <c:v>18</c:v>
                </c:pt>
                <c:pt idx="9">
                  <c:v>18</c:v>
                </c:pt>
                <c:pt idx="10">
                  <c:v>12</c:v>
                </c:pt>
                <c:pt idx="11">
                  <c:v>28</c:v>
                </c:pt>
                <c:pt idx="12">
                  <c:v>13</c:v>
                </c:pt>
                <c:pt idx="13">
                  <c:v>21</c:v>
                </c:pt>
                <c:pt idx="14">
                  <c:v>22</c:v>
                </c:pt>
                <c:pt idx="15">
                  <c:v>33</c:v>
                </c:pt>
                <c:pt idx="16">
                  <c:v>25</c:v>
                </c:pt>
                <c:pt idx="17">
                  <c:v>24</c:v>
                </c:pt>
                <c:pt idx="18">
                  <c:v>34</c:v>
                </c:pt>
                <c:pt idx="19">
                  <c:v>43</c:v>
                </c:pt>
                <c:pt idx="20">
                  <c:v>50</c:v>
                </c:pt>
                <c:pt idx="21">
                  <c:v>57</c:v>
                </c:pt>
                <c:pt idx="22">
                  <c:v>53</c:v>
                </c:pt>
                <c:pt idx="23">
                  <c:v>72</c:v>
                </c:pt>
                <c:pt idx="24">
                  <c:v>60</c:v>
                </c:pt>
                <c:pt idx="25">
                  <c:v>70</c:v>
                </c:pt>
                <c:pt idx="26">
                  <c:v>78</c:v>
                </c:pt>
                <c:pt idx="27">
                  <c:v>76</c:v>
                </c:pt>
                <c:pt idx="28">
                  <c:v>81</c:v>
                </c:pt>
                <c:pt idx="29">
                  <c:v>93</c:v>
                </c:pt>
                <c:pt idx="30">
                  <c:v>84</c:v>
                </c:pt>
                <c:pt idx="31">
                  <c:v>78</c:v>
                </c:pt>
                <c:pt idx="32">
                  <c:v>91</c:v>
                </c:pt>
                <c:pt idx="33">
                  <c:v>120</c:v>
                </c:pt>
                <c:pt idx="34">
                  <c:v>101</c:v>
                </c:pt>
                <c:pt idx="35">
                  <c:v>123</c:v>
                </c:pt>
                <c:pt idx="36">
                  <c:v>141</c:v>
                </c:pt>
                <c:pt idx="37">
                  <c:v>124</c:v>
                </c:pt>
                <c:pt idx="38">
                  <c:v>129</c:v>
                </c:pt>
                <c:pt idx="39">
                  <c:v>147</c:v>
                </c:pt>
                <c:pt idx="40">
                  <c:v>144</c:v>
                </c:pt>
                <c:pt idx="41">
                  <c:v>144</c:v>
                </c:pt>
                <c:pt idx="42">
                  <c:v>149</c:v>
                </c:pt>
                <c:pt idx="43">
                  <c:v>128</c:v>
                </c:pt>
                <c:pt idx="44">
                  <c:v>134</c:v>
                </c:pt>
                <c:pt idx="45">
                  <c:v>134</c:v>
                </c:pt>
                <c:pt idx="46">
                  <c:v>162</c:v>
                </c:pt>
                <c:pt idx="47">
                  <c:v>122</c:v>
                </c:pt>
                <c:pt idx="48">
                  <c:v>139</c:v>
                </c:pt>
                <c:pt idx="49">
                  <c:v>160</c:v>
                </c:pt>
                <c:pt idx="50">
                  <c:v>181</c:v>
                </c:pt>
                <c:pt idx="51">
                  <c:v>166</c:v>
                </c:pt>
                <c:pt idx="52">
                  <c:v>163</c:v>
                </c:pt>
                <c:pt idx="53">
                  <c:v>142</c:v>
                </c:pt>
                <c:pt idx="54">
                  <c:v>184</c:v>
                </c:pt>
                <c:pt idx="55">
                  <c:v>203</c:v>
                </c:pt>
                <c:pt idx="56">
                  <c:v>208</c:v>
                </c:pt>
                <c:pt idx="57">
                  <c:v>217</c:v>
                </c:pt>
                <c:pt idx="58">
                  <c:v>255</c:v>
                </c:pt>
                <c:pt idx="59">
                  <c:v>294</c:v>
                </c:pt>
                <c:pt idx="60">
                  <c:v>274</c:v>
                </c:pt>
                <c:pt idx="61">
                  <c:v>305</c:v>
                </c:pt>
                <c:pt idx="62">
                  <c:v>322</c:v>
                </c:pt>
                <c:pt idx="63">
                  <c:v>342</c:v>
                </c:pt>
                <c:pt idx="64">
                  <c:v>420</c:v>
                </c:pt>
                <c:pt idx="65">
                  <c:v>428</c:v>
                </c:pt>
                <c:pt idx="66">
                  <c:v>436</c:v>
                </c:pt>
                <c:pt idx="67">
                  <c:v>533</c:v>
                </c:pt>
                <c:pt idx="68">
                  <c:v>572</c:v>
                </c:pt>
                <c:pt idx="69">
                  <c:v>601</c:v>
                </c:pt>
                <c:pt idx="70">
                  <c:v>551</c:v>
                </c:pt>
                <c:pt idx="71">
                  <c:v>699</c:v>
                </c:pt>
                <c:pt idx="72">
                  <c:v>711</c:v>
                </c:pt>
                <c:pt idx="73">
                  <c:v>750</c:v>
                </c:pt>
                <c:pt idx="74">
                  <c:v>813</c:v>
                </c:pt>
                <c:pt idx="75">
                  <c:v>865</c:v>
                </c:pt>
                <c:pt idx="76">
                  <c:v>862</c:v>
                </c:pt>
                <c:pt idx="77">
                  <c:v>891</c:v>
                </c:pt>
                <c:pt idx="78">
                  <c:v>1001</c:v>
                </c:pt>
                <c:pt idx="79">
                  <c:v>963</c:v>
                </c:pt>
                <c:pt idx="80">
                  <c:v>1110</c:v>
                </c:pt>
                <c:pt idx="81">
                  <c:v>1144</c:v>
                </c:pt>
                <c:pt idx="82">
                  <c:v>1172</c:v>
                </c:pt>
                <c:pt idx="83">
                  <c:v>1254</c:v>
                </c:pt>
                <c:pt idx="84">
                  <c:v>1188</c:v>
                </c:pt>
                <c:pt idx="85">
                  <c:v>1161</c:v>
                </c:pt>
                <c:pt idx="86">
                  <c:v>1004</c:v>
                </c:pt>
                <c:pt idx="87">
                  <c:v>892</c:v>
                </c:pt>
                <c:pt idx="88">
                  <c:v>729</c:v>
                </c:pt>
                <c:pt idx="89">
                  <c:v>517</c:v>
                </c:pt>
                <c:pt idx="90">
                  <c:v>406</c:v>
                </c:pt>
                <c:pt idx="91">
                  <c:v>308</c:v>
                </c:pt>
                <c:pt idx="92">
                  <c:v>230</c:v>
                </c:pt>
                <c:pt idx="93">
                  <c:v>149</c:v>
                </c:pt>
                <c:pt idx="94">
                  <c:v>88</c:v>
                </c:pt>
                <c:pt idx="95">
                  <c:v>44</c:v>
                </c:pt>
                <c:pt idx="96">
                  <c:v>28</c:v>
                </c:pt>
                <c:pt idx="97">
                  <c:v>7</c:v>
                </c:pt>
                <c:pt idx="98">
                  <c:v>5</c:v>
                </c:pt>
                <c:pt idx="99">
                  <c:v>3</c:v>
                </c:pt>
                <c:pt idx="10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8F-4290-AA04-A5FA33476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76</c:f>
              <c:numCache>
                <c:formatCode>m/d/yyyy</c:formatCode>
                <c:ptCount val="4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</c:numCache>
            </c:numRef>
          </c:cat>
          <c:val>
            <c:numRef>
              <c:f>Sheet1!$B$2:$B$476</c:f>
              <c:numCache>
                <c:formatCode>#\ ##0_ ;\-#\ ##0\ </c:formatCode>
                <c:ptCount val="475"/>
                <c:pt idx="0">
                  <c:v>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3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3</c:v>
                </c:pt>
                <c:pt idx="24">
                  <c:v>1</c:v>
                </c:pt>
                <c:pt idx="25">
                  <c:v>5</c:v>
                </c:pt>
                <c:pt idx="26">
                  <c:v>5</c:v>
                </c:pt>
                <c:pt idx="27">
                  <c:v>3</c:v>
                </c:pt>
                <c:pt idx="28">
                  <c:v>5</c:v>
                </c:pt>
                <c:pt idx="29">
                  <c:v>28</c:v>
                </c:pt>
                <c:pt idx="30">
                  <c:v>31</c:v>
                </c:pt>
                <c:pt idx="31">
                  <c:v>62</c:v>
                </c:pt>
                <c:pt idx="32">
                  <c:v>36</c:v>
                </c:pt>
                <c:pt idx="33">
                  <c:v>54</c:v>
                </c:pt>
                <c:pt idx="34">
                  <c:v>167</c:v>
                </c:pt>
                <c:pt idx="35">
                  <c:v>82</c:v>
                </c:pt>
                <c:pt idx="36">
                  <c:v>45</c:v>
                </c:pt>
                <c:pt idx="37">
                  <c:v>78</c:v>
                </c:pt>
                <c:pt idx="38">
                  <c:v>139</c:v>
                </c:pt>
                <c:pt idx="39">
                  <c:v>30</c:v>
                </c:pt>
                <c:pt idx="40">
                  <c:v>11</c:v>
                </c:pt>
                <c:pt idx="41">
                  <c:v>138</c:v>
                </c:pt>
                <c:pt idx="42">
                  <c:v>222</c:v>
                </c:pt>
                <c:pt idx="43">
                  <c:v>181</c:v>
                </c:pt>
                <c:pt idx="44">
                  <c:v>193</c:v>
                </c:pt>
                <c:pt idx="45">
                  <c:v>205</c:v>
                </c:pt>
                <c:pt idx="46">
                  <c:v>155</c:v>
                </c:pt>
                <c:pt idx="47">
                  <c:v>41</c:v>
                </c:pt>
                <c:pt idx="48">
                  <c:v>242</c:v>
                </c:pt>
                <c:pt idx="49">
                  <c:v>200</c:v>
                </c:pt>
                <c:pt idx="50">
                  <c:v>326</c:v>
                </c:pt>
                <c:pt idx="51">
                  <c:v>228</c:v>
                </c:pt>
                <c:pt idx="52">
                  <c:v>415</c:v>
                </c:pt>
                <c:pt idx="53">
                  <c:v>227</c:v>
                </c:pt>
                <c:pt idx="54">
                  <c:v>195</c:v>
                </c:pt>
                <c:pt idx="55">
                  <c:v>387</c:v>
                </c:pt>
                <c:pt idx="56">
                  <c:v>522</c:v>
                </c:pt>
                <c:pt idx="57">
                  <c:v>260</c:v>
                </c:pt>
                <c:pt idx="58">
                  <c:v>538</c:v>
                </c:pt>
                <c:pt idx="59">
                  <c:v>587</c:v>
                </c:pt>
                <c:pt idx="60">
                  <c:v>337</c:v>
                </c:pt>
                <c:pt idx="61">
                  <c:v>212</c:v>
                </c:pt>
                <c:pt idx="62">
                  <c:v>331</c:v>
                </c:pt>
                <c:pt idx="63">
                  <c:v>332</c:v>
                </c:pt>
                <c:pt idx="64">
                  <c:v>424</c:v>
                </c:pt>
                <c:pt idx="65">
                  <c:v>533</c:v>
                </c:pt>
                <c:pt idx="66">
                  <c:v>488</c:v>
                </c:pt>
                <c:pt idx="67">
                  <c:v>214</c:v>
                </c:pt>
                <c:pt idx="68">
                  <c:v>78</c:v>
                </c:pt>
                <c:pt idx="69">
                  <c:v>204</c:v>
                </c:pt>
                <c:pt idx="70">
                  <c:v>385</c:v>
                </c:pt>
                <c:pt idx="71">
                  <c:v>677</c:v>
                </c:pt>
                <c:pt idx="72">
                  <c:v>498</c:v>
                </c:pt>
                <c:pt idx="73">
                  <c:v>481</c:v>
                </c:pt>
                <c:pt idx="74">
                  <c:v>179</c:v>
                </c:pt>
                <c:pt idx="75">
                  <c:v>164</c:v>
                </c:pt>
                <c:pt idx="76">
                  <c:v>382</c:v>
                </c:pt>
                <c:pt idx="77">
                  <c:v>138</c:v>
                </c:pt>
                <c:pt idx="78">
                  <c:v>266</c:v>
                </c:pt>
                <c:pt idx="79">
                  <c:v>269</c:v>
                </c:pt>
                <c:pt idx="80">
                  <c:v>238</c:v>
                </c:pt>
                <c:pt idx="81">
                  <c:v>94</c:v>
                </c:pt>
                <c:pt idx="82">
                  <c:v>91</c:v>
                </c:pt>
                <c:pt idx="83">
                  <c:v>378</c:v>
                </c:pt>
                <c:pt idx="84">
                  <c:v>198</c:v>
                </c:pt>
                <c:pt idx="85">
                  <c:v>124</c:v>
                </c:pt>
                <c:pt idx="86">
                  <c:v>194</c:v>
                </c:pt>
                <c:pt idx="87">
                  <c:v>139</c:v>
                </c:pt>
                <c:pt idx="88">
                  <c:v>78</c:v>
                </c:pt>
                <c:pt idx="89">
                  <c:v>28</c:v>
                </c:pt>
                <c:pt idx="90">
                  <c:v>213</c:v>
                </c:pt>
                <c:pt idx="91">
                  <c:v>123</c:v>
                </c:pt>
                <c:pt idx="92">
                  <c:v>132</c:v>
                </c:pt>
                <c:pt idx="93">
                  <c:v>128</c:v>
                </c:pt>
                <c:pt idx="94">
                  <c:v>142</c:v>
                </c:pt>
                <c:pt idx="95">
                  <c:v>88</c:v>
                </c:pt>
                <c:pt idx="96">
                  <c:v>20</c:v>
                </c:pt>
                <c:pt idx="97">
                  <c:v>142</c:v>
                </c:pt>
                <c:pt idx="98">
                  <c:v>89</c:v>
                </c:pt>
                <c:pt idx="99">
                  <c:v>141</c:v>
                </c:pt>
                <c:pt idx="100">
                  <c:v>83</c:v>
                </c:pt>
                <c:pt idx="101">
                  <c:v>230</c:v>
                </c:pt>
                <c:pt idx="102">
                  <c:v>67</c:v>
                </c:pt>
                <c:pt idx="103">
                  <c:v>49</c:v>
                </c:pt>
                <c:pt idx="104">
                  <c:v>148</c:v>
                </c:pt>
                <c:pt idx="105">
                  <c:v>133</c:v>
                </c:pt>
                <c:pt idx="106">
                  <c:v>100</c:v>
                </c:pt>
                <c:pt idx="107">
                  <c:v>68</c:v>
                </c:pt>
                <c:pt idx="108">
                  <c:v>222</c:v>
                </c:pt>
                <c:pt idx="109">
                  <c:v>61</c:v>
                </c:pt>
                <c:pt idx="110">
                  <c:v>21</c:v>
                </c:pt>
                <c:pt idx="111">
                  <c:v>178</c:v>
                </c:pt>
                <c:pt idx="112">
                  <c:v>176</c:v>
                </c:pt>
                <c:pt idx="113">
                  <c:v>122</c:v>
                </c:pt>
                <c:pt idx="114">
                  <c:v>18</c:v>
                </c:pt>
                <c:pt idx="115">
                  <c:v>71</c:v>
                </c:pt>
                <c:pt idx="116">
                  <c:v>78</c:v>
                </c:pt>
                <c:pt idx="117">
                  <c:v>98</c:v>
                </c:pt>
                <c:pt idx="118">
                  <c:v>165</c:v>
                </c:pt>
                <c:pt idx="119">
                  <c:v>185</c:v>
                </c:pt>
                <c:pt idx="120">
                  <c:v>144</c:v>
                </c:pt>
                <c:pt idx="121">
                  <c:v>133</c:v>
                </c:pt>
                <c:pt idx="122">
                  <c:v>65</c:v>
                </c:pt>
                <c:pt idx="123">
                  <c:v>59</c:v>
                </c:pt>
                <c:pt idx="124">
                  <c:v>41</c:v>
                </c:pt>
                <c:pt idx="125">
                  <c:v>269</c:v>
                </c:pt>
                <c:pt idx="126">
                  <c:v>152</c:v>
                </c:pt>
                <c:pt idx="127">
                  <c:v>160</c:v>
                </c:pt>
                <c:pt idx="128">
                  <c:v>232</c:v>
                </c:pt>
                <c:pt idx="129">
                  <c:v>185</c:v>
                </c:pt>
                <c:pt idx="130">
                  <c:v>61</c:v>
                </c:pt>
                <c:pt idx="131">
                  <c:v>30</c:v>
                </c:pt>
                <c:pt idx="132">
                  <c:v>238</c:v>
                </c:pt>
                <c:pt idx="133">
                  <c:v>126</c:v>
                </c:pt>
                <c:pt idx="134">
                  <c:v>174</c:v>
                </c:pt>
                <c:pt idx="135">
                  <c:v>97</c:v>
                </c:pt>
                <c:pt idx="136">
                  <c:v>86</c:v>
                </c:pt>
                <c:pt idx="137">
                  <c:v>35</c:v>
                </c:pt>
                <c:pt idx="138">
                  <c:v>45</c:v>
                </c:pt>
                <c:pt idx="139">
                  <c:v>161</c:v>
                </c:pt>
                <c:pt idx="140">
                  <c:v>79</c:v>
                </c:pt>
                <c:pt idx="141">
                  <c:v>146</c:v>
                </c:pt>
                <c:pt idx="142">
                  <c:v>106</c:v>
                </c:pt>
                <c:pt idx="143">
                  <c:v>114</c:v>
                </c:pt>
                <c:pt idx="144">
                  <c:v>53</c:v>
                </c:pt>
                <c:pt idx="145">
                  <c:v>25</c:v>
                </c:pt>
                <c:pt idx="146">
                  <c:v>84</c:v>
                </c:pt>
                <c:pt idx="147">
                  <c:v>41</c:v>
                </c:pt>
                <c:pt idx="148">
                  <c:v>95</c:v>
                </c:pt>
                <c:pt idx="149">
                  <c:v>66</c:v>
                </c:pt>
                <c:pt idx="150">
                  <c:v>37</c:v>
                </c:pt>
                <c:pt idx="151">
                  <c:v>49</c:v>
                </c:pt>
                <c:pt idx="152">
                  <c:v>9</c:v>
                </c:pt>
                <c:pt idx="153">
                  <c:v>105</c:v>
                </c:pt>
                <c:pt idx="154">
                  <c:v>94</c:v>
                </c:pt>
                <c:pt idx="155">
                  <c:v>102</c:v>
                </c:pt>
                <c:pt idx="156">
                  <c:v>82</c:v>
                </c:pt>
                <c:pt idx="157">
                  <c:v>84</c:v>
                </c:pt>
                <c:pt idx="158">
                  <c:v>42</c:v>
                </c:pt>
                <c:pt idx="159">
                  <c:v>16</c:v>
                </c:pt>
                <c:pt idx="160">
                  <c:v>65</c:v>
                </c:pt>
                <c:pt idx="161">
                  <c:v>66</c:v>
                </c:pt>
                <c:pt idx="162">
                  <c:v>67</c:v>
                </c:pt>
                <c:pt idx="163">
                  <c:v>65</c:v>
                </c:pt>
                <c:pt idx="164">
                  <c:v>52</c:v>
                </c:pt>
                <c:pt idx="165">
                  <c:v>8</c:v>
                </c:pt>
                <c:pt idx="166">
                  <c:v>13</c:v>
                </c:pt>
                <c:pt idx="167">
                  <c:v>37</c:v>
                </c:pt>
                <c:pt idx="168">
                  <c:v>17</c:v>
                </c:pt>
                <c:pt idx="169">
                  <c:v>30</c:v>
                </c:pt>
                <c:pt idx="170">
                  <c:v>27</c:v>
                </c:pt>
                <c:pt idx="171">
                  <c:v>27</c:v>
                </c:pt>
                <c:pt idx="172">
                  <c:v>18</c:v>
                </c:pt>
                <c:pt idx="173">
                  <c:v>5</c:v>
                </c:pt>
                <c:pt idx="174">
                  <c:v>89</c:v>
                </c:pt>
                <c:pt idx="175">
                  <c:v>35</c:v>
                </c:pt>
                <c:pt idx="176">
                  <c:v>34</c:v>
                </c:pt>
                <c:pt idx="177">
                  <c:v>46</c:v>
                </c:pt>
                <c:pt idx="178">
                  <c:v>46</c:v>
                </c:pt>
                <c:pt idx="179">
                  <c:v>9</c:v>
                </c:pt>
                <c:pt idx="180">
                  <c:v>3</c:v>
                </c:pt>
                <c:pt idx="181">
                  <c:v>78</c:v>
                </c:pt>
                <c:pt idx="182">
                  <c:v>28</c:v>
                </c:pt>
                <c:pt idx="183">
                  <c:v>46</c:v>
                </c:pt>
                <c:pt idx="184">
                  <c:v>9</c:v>
                </c:pt>
                <c:pt idx="185">
                  <c:v>23</c:v>
                </c:pt>
                <c:pt idx="186">
                  <c:v>5</c:v>
                </c:pt>
                <c:pt idx="187">
                  <c:v>5</c:v>
                </c:pt>
                <c:pt idx="188">
                  <c:v>27</c:v>
                </c:pt>
                <c:pt idx="189">
                  <c:v>77</c:v>
                </c:pt>
                <c:pt idx="190">
                  <c:v>55</c:v>
                </c:pt>
                <c:pt idx="191">
                  <c:v>12</c:v>
                </c:pt>
                <c:pt idx="192">
                  <c:v>25</c:v>
                </c:pt>
                <c:pt idx="193">
                  <c:v>9</c:v>
                </c:pt>
                <c:pt idx="194">
                  <c:v>6</c:v>
                </c:pt>
                <c:pt idx="195">
                  <c:v>26</c:v>
                </c:pt>
                <c:pt idx="196">
                  <c:v>20</c:v>
                </c:pt>
                <c:pt idx="197">
                  <c:v>7</c:v>
                </c:pt>
                <c:pt idx="198">
                  <c:v>37</c:v>
                </c:pt>
                <c:pt idx="199">
                  <c:v>18</c:v>
                </c:pt>
                <c:pt idx="200">
                  <c:v>9</c:v>
                </c:pt>
                <c:pt idx="201">
                  <c:v>4</c:v>
                </c:pt>
                <c:pt idx="202">
                  <c:v>14</c:v>
                </c:pt>
                <c:pt idx="203">
                  <c:v>28</c:v>
                </c:pt>
                <c:pt idx="204">
                  <c:v>19</c:v>
                </c:pt>
                <c:pt idx="205">
                  <c:v>31</c:v>
                </c:pt>
                <c:pt idx="206">
                  <c:v>6</c:v>
                </c:pt>
                <c:pt idx="207">
                  <c:v>3</c:v>
                </c:pt>
                <c:pt idx="208">
                  <c:v>4</c:v>
                </c:pt>
                <c:pt idx="209">
                  <c:v>21</c:v>
                </c:pt>
                <c:pt idx="210">
                  <c:v>10</c:v>
                </c:pt>
                <c:pt idx="211">
                  <c:v>9</c:v>
                </c:pt>
                <c:pt idx="212">
                  <c:v>9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  <c:pt idx="216">
                  <c:v>1</c:v>
                </c:pt>
                <c:pt idx="217">
                  <c:v>5</c:v>
                </c:pt>
                <c:pt idx="218">
                  <c:v>18</c:v>
                </c:pt>
                <c:pt idx="219">
                  <c:v>1</c:v>
                </c:pt>
                <c:pt idx="220">
                  <c:v>3</c:v>
                </c:pt>
                <c:pt idx="221">
                  <c:v>1</c:v>
                </c:pt>
                <c:pt idx="222">
                  <c:v>0</c:v>
                </c:pt>
                <c:pt idx="223">
                  <c:v>1</c:v>
                </c:pt>
                <c:pt idx="224">
                  <c:v>2</c:v>
                </c:pt>
                <c:pt idx="225">
                  <c:v>1</c:v>
                </c:pt>
                <c:pt idx="226">
                  <c:v>3</c:v>
                </c:pt>
                <c:pt idx="227">
                  <c:v>1</c:v>
                </c:pt>
                <c:pt idx="228">
                  <c:v>1</c:v>
                </c:pt>
                <c:pt idx="229">
                  <c:v>1</c:v>
                </c:pt>
                <c:pt idx="230">
                  <c:v>5</c:v>
                </c:pt>
                <c:pt idx="231">
                  <c:v>4</c:v>
                </c:pt>
                <c:pt idx="232">
                  <c:v>3</c:v>
                </c:pt>
                <c:pt idx="233">
                  <c:v>9</c:v>
                </c:pt>
                <c:pt idx="234">
                  <c:v>4</c:v>
                </c:pt>
                <c:pt idx="235">
                  <c:v>1</c:v>
                </c:pt>
                <c:pt idx="236">
                  <c:v>0</c:v>
                </c:pt>
                <c:pt idx="237">
                  <c:v>1</c:v>
                </c:pt>
                <c:pt idx="238">
                  <c:v>3</c:v>
                </c:pt>
                <c:pt idx="239">
                  <c:v>1</c:v>
                </c:pt>
                <c:pt idx="240">
                  <c:v>2</c:v>
                </c:pt>
                <c:pt idx="241">
                  <c:v>1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2</c:v>
                </c:pt>
                <c:pt idx="247">
                  <c:v>0</c:v>
                </c:pt>
                <c:pt idx="248">
                  <c:v>1</c:v>
                </c:pt>
                <c:pt idx="249">
                  <c:v>0</c:v>
                </c:pt>
                <c:pt idx="250">
                  <c:v>3</c:v>
                </c:pt>
                <c:pt idx="251">
                  <c:v>5</c:v>
                </c:pt>
                <c:pt idx="252">
                  <c:v>2</c:v>
                </c:pt>
                <c:pt idx="253">
                  <c:v>0</c:v>
                </c:pt>
                <c:pt idx="254">
                  <c:v>2</c:v>
                </c:pt>
                <c:pt idx="255">
                  <c:v>3</c:v>
                </c:pt>
                <c:pt idx="256">
                  <c:v>1</c:v>
                </c:pt>
                <c:pt idx="257">
                  <c:v>0</c:v>
                </c:pt>
                <c:pt idx="258">
                  <c:v>3</c:v>
                </c:pt>
                <c:pt idx="259">
                  <c:v>0</c:v>
                </c:pt>
                <c:pt idx="260">
                  <c:v>2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2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1</c:v>
                </c:pt>
                <c:pt idx="366">
                  <c:v>4</c:v>
                </c:pt>
                <c:pt idx="367">
                  <c:v>2</c:v>
                </c:pt>
                <c:pt idx="368">
                  <c:v>1</c:v>
                </c:pt>
                <c:pt idx="369">
                  <c:v>0</c:v>
                </c:pt>
                <c:pt idx="370">
                  <c:v>4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4</c:v>
                </c:pt>
                <c:pt idx="386">
                  <c:v>1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2</c:v>
                </c:pt>
                <c:pt idx="392">
                  <c:v>0</c:v>
                </c:pt>
                <c:pt idx="393">
                  <c:v>1</c:v>
                </c:pt>
                <c:pt idx="394">
                  <c:v>0</c:v>
                </c:pt>
                <c:pt idx="395">
                  <c:v>1</c:v>
                </c:pt>
                <c:pt idx="396">
                  <c:v>1</c:v>
                </c:pt>
                <c:pt idx="397">
                  <c:v>1</c:v>
                </c:pt>
                <c:pt idx="398">
                  <c:v>2</c:v>
                </c:pt>
                <c:pt idx="399">
                  <c:v>2</c:v>
                </c:pt>
                <c:pt idx="400">
                  <c:v>11</c:v>
                </c:pt>
                <c:pt idx="401">
                  <c:v>2</c:v>
                </c:pt>
                <c:pt idx="402">
                  <c:v>25</c:v>
                </c:pt>
                <c:pt idx="403">
                  <c:v>1</c:v>
                </c:pt>
                <c:pt idx="404">
                  <c:v>0</c:v>
                </c:pt>
                <c:pt idx="405">
                  <c:v>1</c:v>
                </c:pt>
                <c:pt idx="406">
                  <c:v>0</c:v>
                </c:pt>
                <c:pt idx="407">
                  <c:v>20</c:v>
                </c:pt>
                <c:pt idx="408">
                  <c:v>3</c:v>
                </c:pt>
                <c:pt idx="409">
                  <c:v>2</c:v>
                </c:pt>
                <c:pt idx="410">
                  <c:v>0</c:v>
                </c:pt>
                <c:pt idx="411">
                  <c:v>0</c:v>
                </c:pt>
                <c:pt idx="412">
                  <c:v>6</c:v>
                </c:pt>
                <c:pt idx="413">
                  <c:v>4</c:v>
                </c:pt>
                <c:pt idx="414">
                  <c:v>4</c:v>
                </c:pt>
                <c:pt idx="415">
                  <c:v>2</c:v>
                </c:pt>
                <c:pt idx="416">
                  <c:v>5</c:v>
                </c:pt>
                <c:pt idx="417">
                  <c:v>1</c:v>
                </c:pt>
                <c:pt idx="418">
                  <c:v>1</c:v>
                </c:pt>
                <c:pt idx="419">
                  <c:v>14</c:v>
                </c:pt>
                <c:pt idx="420">
                  <c:v>9</c:v>
                </c:pt>
                <c:pt idx="421">
                  <c:v>11</c:v>
                </c:pt>
                <c:pt idx="422">
                  <c:v>0</c:v>
                </c:pt>
                <c:pt idx="423">
                  <c:v>18</c:v>
                </c:pt>
                <c:pt idx="424">
                  <c:v>7</c:v>
                </c:pt>
                <c:pt idx="425">
                  <c:v>11</c:v>
                </c:pt>
                <c:pt idx="426">
                  <c:v>35</c:v>
                </c:pt>
                <c:pt idx="427">
                  <c:v>13</c:v>
                </c:pt>
                <c:pt idx="428">
                  <c:v>16</c:v>
                </c:pt>
                <c:pt idx="429">
                  <c:v>52</c:v>
                </c:pt>
                <c:pt idx="430">
                  <c:v>23</c:v>
                </c:pt>
                <c:pt idx="431">
                  <c:v>6</c:v>
                </c:pt>
                <c:pt idx="432">
                  <c:v>5</c:v>
                </c:pt>
                <c:pt idx="433">
                  <c:v>29</c:v>
                </c:pt>
                <c:pt idx="434">
                  <c:v>29</c:v>
                </c:pt>
                <c:pt idx="435">
                  <c:v>15</c:v>
                </c:pt>
                <c:pt idx="436">
                  <c:v>18</c:v>
                </c:pt>
                <c:pt idx="437">
                  <c:v>17</c:v>
                </c:pt>
                <c:pt idx="438">
                  <c:v>13</c:v>
                </c:pt>
                <c:pt idx="439">
                  <c:v>14</c:v>
                </c:pt>
                <c:pt idx="440">
                  <c:v>43</c:v>
                </c:pt>
                <c:pt idx="441">
                  <c:v>32</c:v>
                </c:pt>
                <c:pt idx="442">
                  <c:v>23</c:v>
                </c:pt>
                <c:pt idx="443">
                  <c:v>55</c:v>
                </c:pt>
                <c:pt idx="444">
                  <c:v>84</c:v>
                </c:pt>
                <c:pt idx="445">
                  <c:v>26</c:v>
                </c:pt>
                <c:pt idx="446">
                  <c:v>9</c:v>
                </c:pt>
                <c:pt idx="447">
                  <c:v>48</c:v>
                </c:pt>
                <c:pt idx="448">
                  <c:v>23</c:v>
                </c:pt>
                <c:pt idx="449">
                  <c:v>41</c:v>
                </c:pt>
                <c:pt idx="450">
                  <c:v>30</c:v>
                </c:pt>
                <c:pt idx="451">
                  <c:v>52</c:v>
                </c:pt>
                <c:pt idx="452">
                  <c:v>3</c:v>
                </c:pt>
                <c:pt idx="453">
                  <c:v>7</c:v>
                </c:pt>
                <c:pt idx="454">
                  <c:v>38</c:v>
                </c:pt>
                <c:pt idx="455">
                  <c:v>10</c:v>
                </c:pt>
                <c:pt idx="456">
                  <c:v>27</c:v>
                </c:pt>
                <c:pt idx="457">
                  <c:v>31</c:v>
                </c:pt>
                <c:pt idx="458">
                  <c:v>16</c:v>
                </c:pt>
                <c:pt idx="459">
                  <c:v>39</c:v>
                </c:pt>
                <c:pt idx="460">
                  <c:v>5</c:v>
                </c:pt>
                <c:pt idx="461">
                  <c:v>24</c:v>
                </c:pt>
                <c:pt idx="462">
                  <c:v>14</c:v>
                </c:pt>
                <c:pt idx="463">
                  <c:v>26</c:v>
                </c:pt>
                <c:pt idx="464">
                  <c:v>31</c:v>
                </c:pt>
                <c:pt idx="465">
                  <c:v>22</c:v>
                </c:pt>
                <c:pt idx="466">
                  <c:v>3</c:v>
                </c:pt>
                <c:pt idx="467">
                  <c:v>1</c:v>
                </c:pt>
                <c:pt idx="468">
                  <c:v>13</c:v>
                </c:pt>
                <c:pt idx="469">
                  <c:v>26</c:v>
                </c:pt>
                <c:pt idx="470">
                  <c:v>11</c:v>
                </c:pt>
                <c:pt idx="471">
                  <c:v>17</c:v>
                </c:pt>
                <c:pt idx="472">
                  <c:v>18</c:v>
                </c:pt>
                <c:pt idx="473">
                  <c:v>0</c:v>
                </c:pt>
                <c:pt idx="47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personal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76</c:f>
              <c:numCache>
                <c:formatCode>m/d/yyyy</c:formatCode>
                <c:ptCount val="4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</c:numCache>
            </c:numRef>
          </c:cat>
          <c:val>
            <c:numRef>
              <c:f>Sheet1!$B$2:$B$476</c:f>
              <c:numCache>
                <c:formatCode>#\ ##0_ ;\-#\ ##0\ </c:formatCode>
                <c:ptCount val="47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5</c:v>
                </c:pt>
                <c:pt idx="21">
                  <c:v>4</c:v>
                </c:pt>
                <c:pt idx="22">
                  <c:v>1</c:v>
                </c:pt>
                <c:pt idx="23">
                  <c:v>4</c:v>
                </c:pt>
                <c:pt idx="24">
                  <c:v>12</c:v>
                </c:pt>
                <c:pt idx="25">
                  <c:v>7</c:v>
                </c:pt>
                <c:pt idx="26">
                  <c:v>2</c:v>
                </c:pt>
                <c:pt idx="27">
                  <c:v>4</c:v>
                </c:pt>
                <c:pt idx="28">
                  <c:v>23</c:v>
                </c:pt>
                <c:pt idx="29">
                  <c:v>10</c:v>
                </c:pt>
                <c:pt idx="30">
                  <c:v>30</c:v>
                </c:pt>
                <c:pt idx="31">
                  <c:v>94</c:v>
                </c:pt>
                <c:pt idx="32">
                  <c:v>31</c:v>
                </c:pt>
                <c:pt idx="33">
                  <c:v>29</c:v>
                </c:pt>
                <c:pt idx="34">
                  <c:v>90</c:v>
                </c:pt>
                <c:pt idx="35">
                  <c:v>46</c:v>
                </c:pt>
                <c:pt idx="36">
                  <c:v>42</c:v>
                </c:pt>
                <c:pt idx="37">
                  <c:v>84</c:v>
                </c:pt>
                <c:pt idx="38">
                  <c:v>87</c:v>
                </c:pt>
                <c:pt idx="39">
                  <c:v>51</c:v>
                </c:pt>
                <c:pt idx="40">
                  <c:v>25</c:v>
                </c:pt>
                <c:pt idx="41">
                  <c:v>159</c:v>
                </c:pt>
                <c:pt idx="42">
                  <c:v>154</c:v>
                </c:pt>
                <c:pt idx="43">
                  <c:v>191</c:v>
                </c:pt>
                <c:pt idx="44">
                  <c:v>199</c:v>
                </c:pt>
                <c:pt idx="45">
                  <c:v>211</c:v>
                </c:pt>
                <c:pt idx="46">
                  <c:v>104</c:v>
                </c:pt>
                <c:pt idx="47">
                  <c:v>48</c:v>
                </c:pt>
                <c:pt idx="48">
                  <c:v>191</c:v>
                </c:pt>
                <c:pt idx="49">
                  <c:v>193</c:v>
                </c:pt>
                <c:pt idx="50">
                  <c:v>257</c:v>
                </c:pt>
                <c:pt idx="51">
                  <c:v>235</c:v>
                </c:pt>
                <c:pt idx="52">
                  <c:v>334</c:v>
                </c:pt>
                <c:pt idx="53">
                  <c:v>187</c:v>
                </c:pt>
                <c:pt idx="54">
                  <c:v>90</c:v>
                </c:pt>
                <c:pt idx="55">
                  <c:v>375</c:v>
                </c:pt>
                <c:pt idx="56">
                  <c:v>396</c:v>
                </c:pt>
                <c:pt idx="57">
                  <c:v>133</c:v>
                </c:pt>
                <c:pt idx="58">
                  <c:v>469</c:v>
                </c:pt>
                <c:pt idx="59">
                  <c:v>332</c:v>
                </c:pt>
                <c:pt idx="60">
                  <c:v>183</c:v>
                </c:pt>
                <c:pt idx="61">
                  <c:v>116</c:v>
                </c:pt>
                <c:pt idx="62">
                  <c:v>297</c:v>
                </c:pt>
                <c:pt idx="63">
                  <c:v>231</c:v>
                </c:pt>
                <c:pt idx="64">
                  <c:v>329</c:v>
                </c:pt>
                <c:pt idx="65">
                  <c:v>279</c:v>
                </c:pt>
                <c:pt idx="66">
                  <c:v>240</c:v>
                </c:pt>
                <c:pt idx="67">
                  <c:v>117</c:v>
                </c:pt>
                <c:pt idx="68">
                  <c:v>48</c:v>
                </c:pt>
                <c:pt idx="69">
                  <c:v>197</c:v>
                </c:pt>
                <c:pt idx="70">
                  <c:v>205</c:v>
                </c:pt>
                <c:pt idx="71">
                  <c:v>262</c:v>
                </c:pt>
                <c:pt idx="72">
                  <c:v>230</c:v>
                </c:pt>
                <c:pt idx="73">
                  <c:v>204</c:v>
                </c:pt>
                <c:pt idx="74">
                  <c:v>73</c:v>
                </c:pt>
                <c:pt idx="75">
                  <c:v>30</c:v>
                </c:pt>
                <c:pt idx="76">
                  <c:v>178</c:v>
                </c:pt>
                <c:pt idx="77">
                  <c:v>46</c:v>
                </c:pt>
                <c:pt idx="78">
                  <c:v>162</c:v>
                </c:pt>
                <c:pt idx="79">
                  <c:v>129</c:v>
                </c:pt>
                <c:pt idx="80">
                  <c:v>120</c:v>
                </c:pt>
                <c:pt idx="81">
                  <c:v>36</c:v>
                </c:pt>
                <c:pt idx="82">
                  <c:v>17</c:v>
                </c:pt>
                <c:pt idx="83">
                  <c:v>138</c:v>
                </c:pt>
                <c:pt idx="84">
                  <c:v>105</c:v>
                </c:pt>
                <c:pt idx="85">
                  <c:v>93</c:v>
                </c:pt>
                <c:pt idx="86">
                  <c:v>55</c:v>
                </c:pt>
                <c:pt idx="87">
                  <c:v>80</c:v>
                </c:pt>
                <c:pt idx="88">
                  <c:v>23</c:v>
                </c:pt>
                <c:pt idx="89">
                  <c:v>15</c:v>
                </c:pt>
                <c:pt idx="90">
                  <c:v>105</c:v>
                </c:pt>
                <c:pt idx="91">
                  <c:v>85</c:v>
                </c:pt>
                <c:pt idx="92">
                  <c:v>66</c:v>
                </c:pt>
                <c:pt idx="93">
                  <c:v>57</c:v>
                </c:pt>
                <c:pt idx="94">
                  <c:v>89</c:v>
                </c:pt>
                <c:pt idx="95">
                  <c:v>40</c:v>
                </c:pt>
                <c:pt idx="96">
                  <c:v>25</c:v>
                </c:pt>
                <c:pt idx="97">
                  <c:v>120</c:v>
                </c:pt>
                <c:pt idx="98">
                  <c:v>76</c:v>
                </c:pt>
                <c:pt idx="99">
                  <c:v>62</c:v>
                </c:pt>
                <c:pt idx="100">
                  <c:v>59</c:v>
                </c:pt>
                <c:pt idx="101">
                  <c:v>77</c:v>
                </c:pt>
                <c:pt idx="102">
                  <c:v>21</c:v>
                </c:pt>
                <c:pt idx="103">
                  <c:v>17</c:v>
                </c:pt>
                <c:pt idx="104">
                  <c:v>128</c:v>
                </c:pt>
                <c:pt idx="105">
                  <c:v>71</c:v>
                </c:pt>
                <c:pt idx="106">
                  <c:v>95</c:v>
                </c:pt>
                <c:pt idx="107">
                  <c:v>51</c:v>
                </c:pt>
                <c:pt idx="108">
                  <c:v>82</c:v>
                </c:pt>
                <c:pt idx="109">
                  <c:v>27</c:v>
                </c:pt>
                <c:pt idx="110">
                  <c:v>27</c:v>
                </c:pt>
                <c:pt idx="111">
                  <c:v>158</c:v>
                </c:pt>
                <c:pt idx="112">
                  <c:v>111</c:v>
                </c:pt>
                <c:pt idx="113">
                  <c:v>116</c:v>
                </c:pt>
                <c:pt idx="114">
                  <c:v>28</c:v>
                </c:pt>
                <c:pt idx="115">
                  <c:v>44</c:v>
                </c:pt>
                <c:pt idx="116">
                  <c:v>49</c:v>
                </c:pt>
                <c:pt idx="117">
                  <c:v>46</c:v>
                </c:pt>
                <c:pt idx="118">
                  <c:v>191</c:v>
                </c:pt>
                <c:pt idx="119">
                  <c:v>146</c:v>
                </c:pt>
                <c:pt idx="120">
                  <c:v>111</c:v>
                </c:pt>
                <c:pt idx="121">
                  <c:v>85</c:v>
                </c:pt>
                <c:pt idx="122">
                  <c:v>29</c:v>
                </c:pt>
                <c:pt idx="123">
                  <c:v>59</c:v>
                </c:pt>
                <c:pt idx="124">
                  <c:v>35</c:v>
                </c:pt>
                <c:pt idx="125">
                  <c:v>275</c:v>
                </c:pt>
                <c:pt idx="126">
                  <c:v>143</c:v>
                </c:pt>
                <c:pt idx="127">
                  <c:v>112</c:v>
                </c:pt>
                <c:pt idx="128">
                  <c:v>99</c:v>
                </c:pt>
                <c:pt idx="129">
                  <c:v>121</c:v>
                </c:pt>
                <c:pt idx="130">
                  <c:v>48</c:v>
                </c:pt>
                <c:pt idx="131">
                  <c:v>25</c:v>
                </c:pt>
                <c:pt idx="132">
                  <c:v>230</c:v>
                </c:pt>
                <c:pt idx="133">
                  <c:v>96</c:v>
                </c:pt>
                <c:pt idx="134">
                  <c:v>108</c:v>
                </c:pt>
                <c:pt idx="135">
                  <c:v>53</c:v>
                </c:pt>
                <c:pt idx="136">
                  <c:v>65</c:v>
                </c:pt>
                <c:pt idx="137">
                  <c:v>32</c:v>
                </c:pt>
                <c:pt idx="138">
                  <c:v>26</c:v>
                </c:pt>
                <c:pt idx="139">
                  <c:v>124</c:v>
                </c:pt>
                <c:pt idx="140">
                  <c:v>75</c:v>
                </c:pt>
                <c:pt idx="141">
                  <c:v>71</c:v>
                </c:pt>
                <c:pt idx="142">
                  <c:v>60</c:v>
                </c:pt>
                <c:pt idx="143">
                  <c:v>79</c:v>
                </c:pt>
                <c:pt idx="144">
                  <c:v>26</c:v>
                </c:pt>
                <c:pt idx="145">
                  <c:v>11</c:v>
                </c:pt>
                <c:pt idx="146">
                  <c:v>89</c:v>
                </c:pt>
                <c:pt idx="147">
                  <c:v>76</c:v>
                </c:pt>
                <c:pt idx="148">
                  <c:v>59</c:v>
                </c:pt>
                <c:pt idx="149">
                  <c:v>32</c:v>
                </c:pt>
                <c:pt idx="150">
                  <c:v>46</c:v>
                </c:pt>
                <c:pt idx="151">
                  <c:v>29</c:v>
                </c:pt>
                <c:pt idx="152">
                  <c:v>9</c:v>
                </c:pt>
                <c:pt idx="153">
                  <c:v>79</c:v>
                </c:pt>
                <c:pt idx="154">
                  <c:v>69</c:v>
                </c:pt>
                <c:pt idx="155">
                  <c:v>58</c:v>
                </c:pt>
                <c:pt idx="156">
                  <c:v>42</c:v>
                </c:pt>
                <c:pt idx="157">
                  <c:v>47</c:v>
                </c:pt>
                <c:pt idx="158">
                  <c:v>11</c:v>
                </c:pt>
                <c:pt idx="159">
                  <c:v>17</c:v>
                </c:pt>
                <c:pt idx="160">
                  <c:v>70</c:v>
                </c:pt>
                <c:pt idx="161">
                  <c:v>21</c:v>
                </c:pt>
                <c:pt idx="162">
                  <c:v>33</c:v>
                </c:pt>
                <c:pt idx="163">
                  <c:v>38</c:v>
                </c:pt>
                <c:pt idx="164">
                  <c:v>39</c:v>
                </c:pt>
                <c:pt idx="165">
                  <c:v>15</c:v>
                </c:pt>
                <c:pt idx="166">
                  <c:v>10</c:v>
                </c:pt>
                <c:pt idx="167">
                  <c:v>63</c:v>
                </c:pt>
                <c:pt idx="168">
                  <c:v>33</c:v>
                </c:pt>
                <c:pt idx="169">
                  <c:v>36</c:v>
                </c:pt>
                <c:pt idx="170">
                  <c:v>29</c:v>
                </c:pt>
                <c:pt idx="171">
                  <c:v>35</c:v>
                </c:pt>
                <c:pt idx="172">
                  <c:v>6</c:v>
                </c:pt>
                <c:pt idx="173">
                  <c:v>18</c:v>
                </c:pt>
                <c:pt idx="174">
                  <c:v>73</c:v>
                </c:pt>
                <c:pt idx="175">
                  <c:v>44</c:v>
                </c:pt>
                <c:pt idx="176">
                  <c:v>34</c:v>
                </c:pt>
                <c:pt idx="177">
                  <c:v>32</c:v>
                </c:pt>
                <c:pt idx="178">
                  <c:v>39</c:v>
                </c:pt>
                <c:pt idx="179">
                  <c:v>9</c:v>
                </c:pt>
                <c:pt idx="180">
                  <c:v>9</c:v>
                </c:pt>
                <c:pt idx="181">
                  <c:v>57</c:v>
                </c:pt>
                <c:pt idx="182">
                  <c:v>39</c:v>
                </c:pt>
                <c:pt idx="183">
                  <c:v>56</c:v>
                </c:pt>
                <c:pt idx="184">
                  <c:v>38</c:v>
                </c:pt>
                <c:pt idx="185">
                  <c:v>28</c:v>
                </c:pt>
                <c:pt idx="186">
                  <c:v>14</c:v>
                </c:pt>
                <c:pt idx="187">
                  <c:v>10</c:v>
                </c:pt>
                <c:pt idx="188">
                  <c:v>60</c:v>
                </c:pt>
                <c:pt idx="189">
                  <c:v>37</c:v>
                </c:pt>
                <c:pt idx="190">
                  <c:v>29</c:v>
                </c:pt>
                <c:pt idx="191">
                  <c:v>26</c:v>
                </c:pt>
                <c:pt idx="192">
                  <c:v>18</c:v>
                </c:pt>
                <c:pt idx="193">
                  <c:v>11</c:v>
                </c:pt>
                <c:pt idx="194">
                  <c:v>7</c:v>
                </c:pt>
                <c:pt idx="195">
                  <c:v>35</c:v>
                </c:pt>
                <c:pt idx="196">
                  <c:v>23</c:v>
                </c:pt>
                <c:pt idx="197">
                  <c:v>23</c:v>
                </c:pt>
                <c:pt idx="198">
                  <c:v>16</c:v>
                </c:pt>
                <c:pt idx="199">
                  <c:v>20</c:v>
                </c:pt>
                <c:pt idx="200">
                  <c:v>1</c:v>
                </c:pt>
                <c:pt idx="201">
                  <c:v>4</c:v>
                </c:pt>
                <c:pt idx="202">
                  <c:v>29</c:v>
                </c:pt>
                <c:pt idx="203">
                  <c:v>18</c:v>
                </c:pt>
                <c:pt idx="204">
                  <c:v>10</c:v>
                </c:pt>
                <c:pt idx="205">
                  <c:v>8</c:v>
                </c:pt>
                <c:pt idx="206">
                  <c:v>16</c:v>
                </c:pt>
                <c:pt idx="207">
                  <c:v>3</c:v>
                </c:pt>
                <c:pt idx="208">
                  <c:v>1</c:v>
                </c:pt>
                <c:pt idx="209">
                  <c:v>19</c:v>
                </c:pt>
                <c:pt idx="210">
                  <c:v>14</c:v>
                </c:pt>
                <c:pt idx="211">
                  <c:v>13</c:v>
                </c:pt>
                <c:pt idx="212">
                  <c:v>12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  <c:pt idx="216">
                  <c:v>5</c:v>
                </c:pt>
                <c:pt idx="217">
                  <c:v>22</c:v>
                </c:pt>
                <c:pt idx="218">
                  <c:v>16</c:v>
                </c:pt>
                <c:pt idx="219">
                  <c:v>16</c:v>
                </c:pt>
                <c:pt idx="220">
                  <c:v>8</c:v>
                </c:pt>
                <c:pt idx="221">
                  <c:v>4</c:v>
                </c:pt>
                <c:pt idx="222">
                  <c:v>1</c:v>
                </c:pt>
                <c:pt idx="223">
                  <c:v>8</c:v>
                </c:pt>
                <c:pt idx="224">
                  <c:v>6</c:v>
                </c:pt>
                <c:pt idx="225">
                  <c:v>4</c:v>
                </c:pt>
                <c:pt idx="226">
                  <c:v>6</c:v>
                </c:pt>
                <c:pt idx="227">
                  <c:v>6</c:v>
                </c:pt>
                <c:pt idx="228">
                  <c:v>1</c:v>
                </c:pt>
                <c:pt idx="229">
                  <c:v>1</c:v>
                </c:pt>
                <c:pt idx="230">
                  <c:v>10</c:v>
                </c:pt>
                <c:pt idx="231">
                  <c:v>3</c:v>
                </c:pt>
                <c:pt idx="232">
                  <c:v>3</c:v>
                </c:pt>
                <c:pt idx="233">
                  <c:v>4</c:v>
                </c:pt>
                <c:pt idx="234">
                  <c:v>3</c:v>
                </c:pt>
                <c:pt idx="235">
                  <c:v>1</c:v>
                </c:pt>
                <c:pt idx="236">
                  <c:v>0</c:v>
                </c:pt>
                <c:pt idx="237">
                  <c:v>7</c:v>
                </c:pt>
                <c:pt idx="238">
                  <c:v>7</c:v>
                </c:pt>
                <c:pt idx="239">
                  <c:v>2</c:v>
                </c:pt>
                <c:pt idx="240">
                  <c:v>2</c:v>
                </c:pt>
                <c:pt idx="241">
                  <c:v>5</c:v>
                </c:pt>
                <c:pt idx="242">
                  <c:v>0</c:v>
                </c:pt>
                <c:pt idx="243">
                  <c:v>1</c:v>
                </c:pt>
                <c:pt idx="244">
                  <c:v>2</c:v>
                </c:pt>
                <c:pt idx="245">
                  <c:v>2</c:v>
                </c:pt>
                <c:pt idx="246">
                  <c:v>1</c:v>
                </c:pt>
                <c:pt idx="247">
                  <c:v>5</c:v>
                </c:pt>
                <c:pt idx="248">
                  <c:v>2</c:v>
                </c:pt>
                <c:pt idx="249">
                  <c:v>1</c:v>
                </c:pt>
                <c:pt idx="250">
                  <c:v>0</c:v>
                </c:pt>
                <c:pt idx="251">
                  <c:v>1</c:v>
                </c:pt>
                <c:pt idx="252">
                  <c:v>4</c:v>
                </c:pt>
                <c:pt idx="253">
                  <c:v>0</c:v>
                </c:pt>
                <c:pt idx="254">
                  <c:v>2</c:v>
                </c:pt>
                <c:pt idx="255">
                  <c:v>1</c:v>
                </c:pt>
                <c:pt idx="256">
                  <c:v>0</c:v>
                </c:pt>
                <c:pt idx="257">
                  <c:v>0</c:v>
                </c:pt>
                <c:pt idx="258">
                  <c:v>4</c:v>
                </c:pt>
                <c:pt idx="259">
                  <c:v>4</c:v>
                </c:pt>
                <c:pt idx="260">
                  <c:v>1</c:v>
                </c:pt>
                <c:pt idx="261">
                  <c:v>3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2</c:v>
                </c:pt>
                <c:pt idx="366">
                  <c:v>1</c:v>
                </c:pt>
                <c:pt idx="367">
                  <c:v>1</c:v>
                </c:pt>
                <c:pt idx="368">
                  <c:v>0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0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4</c:v>
                </c:pt>
                <c:pt idx="385">
                  <c:v>3</c:v>
                </c:pt>
                <c:pt idx="386">
                  <c:v>2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5</c:v>
                </c:pt>
                <c:pt idx="392">
                  <c:v>2</c:v>
                </c:pt>
                <c:pt idx="393">
                  <c:v>7</c:v>
                </c:pt>
                <c:pt idx="394">
                  <c:v>3</c:v>
                </c:pt>
                <c:pt idx="395">
                  <c:v>2</c:v>
                </c:pt>
                <c:pt idx="396">
                  <c:v>0</c:v>
                </c:pt>
                <c:pt idx="397">
                  <c:v>0</c:v>
                </c:pt>
                <c:pt idx="398">
                  <c:v>3</c:v>
                </c:pt>
                <c:pt idx="399">
                  <c:v>5</c:v>
                </c:pt>
                <c:pt idx="400">
                  <c:v>2</c:v>
                </c:pt>
                <c:pt idx="401">
                  <c:v>1</c:v>
                </c:pt>
                <c:pt idx="402">
                  <c:v>2</c:v>
                </c:pt>
                <c:pt idx="403">
                  <c:v>1</c:v>
                </c:pt>
                <c:pt idx="404">
                  <c:v>0</c:v>
                </c:pt>
                <c:pt idx="405">
                  <c:v>2</c:v>
                </c:pt>
                <c:pt idx="406">
                  <c:v>3</c:v>
                </c:pt>
                <c:pt idx="407">
                  <c:v>1</c:v>
                </c:pt>
                <c:pt idx="408">
                  <c:v>3</c:v>
                </c:pt>
                <c:pt idx="409">
                  <c:v>6</c:v>
                </c:pt>
                <c:pt idx="410">
                  <c:v>2</c:v>
                </c:pt>
                <c:pt idx="411">
                  <c:v>1</c:v>
                </c:pt>
                <c:pt idx="412">
                  <c:v>12</c:v>
                </c:pt>
                <c:pt idx="413">
                  <c:v>8</c:v>
                </c:pt>
                <c:pt idx="414">
                  <c:v>9</c:v>
                </c:pt>
                <c:pt idx="415">
                  <c:v>7</c:v>
                </c:pt>
                <c:pt idx="416">
                  <c:v>10</c:v>
                </c:pt>
                <c:pt idx="417">
                  <c:v>0</c:v>
                </c:pt>
                <c:pt idx="418">
                  <c:v>3</c:v>
                </c:pt>
                <c:pt idx="419">
                  <c:v>19</c:v>
                </c:pt>
                <c:pt idx="420">
                  <c:v>5</c:v>
                </c:pt>
                <c:pt idx="421">
                  <c:v>17</c:v>
                </c:pt>
                <c:pt idx="422">
                  <c:v>3</c:v>
                </c:pt>
                <c:pt idx="423">
                  <c:v>8</c:v>
                </c:pt>
                <c:pt idx="424">
                  <c:v>5</c:v>
                </c:pt>
                <c:pt idx="425">
                  <c:v>4</c:v>
                </c:pt>
                <c:pt idx="426">
                  <c:v>40</c:v>
                </c:pt>
                <c:pt idx="427">
                  <c:v>25</c:v>
                </c:pt>
                <c:pt idx="428">
                  <c:v>19</c:v>
                </c:pt>
                <c:pt idx="429">
                  <c:v>24</c:v>
                </c:pt>
                <c:pt idx="430">
                  <c:v>27</c:v>
                </c:pt>
                <c:pt idx="431">
                  <c:v>13</c:v>
                </c:pt>
                <c:pt idx="432">
                  <c:v>5</c:v>
                </c:pt>
                <c:pt idx="433">
                  <c:v>50</c:v>
                </c:pt>
                <c:pt idx="434">
                  <c:v>25</c:v>
                </c:pt>
                <c:pt idx="435">
                  <c:v>29</c:v>
                </c:pt>
                <c:pt idx="436">
                  <c:v>35</c:v>
                </c:pt>
                <c:pt idx="437">
                  <c:v>34</c:v>
                </c:pt>
                <c:pt idx="438">
                  <c:v>20</c:v>
                </c:pt>
                <c:pt idx="439">
                  <c:v>14</c:v>
                </c:pt>
                <c:pt idx="440">
                  <c:v>55</c:v>
                </c:pt>
                <c:pt idx="441">
                  <c:v>33</c:v>
                </c:pt>
                <c:pt idx="442">
                  <c:v>13</c:v>
                </c:pt>
                <c:pt idx="443">
                  <c:v>42</c:v>
                </c:pt>
                <c:pt idx="444">
                  <c:v>52</c:v>
                </c:pt>
                <c:pt idx="445">
                  <c:v>11</c:v>
                </c:pt>
                <c:pt idx="446">
                  <c:v>7</c:v>
                </c:pt>
                <c:pt idx="447">
                  <c:v>68</c:v>
                </c:pt>
                <c:pt idx="448">
                  <c:v>44</c:v>
                </c:pt>
                <c:pt idx="449">
                  <c:v>45</c:v>
                </c:pt>
                <c:pt idx="450">
                  <c:v>46</c:v>
                </c:pt>
                <c:pt idx="451">
                  <c:v>47</c:v>
                </c:pt>
                <c:pt idx="452">
                  <c:v>21</c:v>
                </c:pt>
                <c:pt idx="453">
                  <c:v>8</c:v>
                </c:pt>
                <c:pt idx="454">
                  <c:v>38</c:v>
                </c:pt>
                <c:pt idx="455">
                  <c:v>44</c:v>
                </c:pt>
                <c:pt idx="456">
                  <c:v>37</c:v>
                </c:pt>
                <c:pt idx="457">
                  <c:v>32</c:v>
                </c:pt>
                <c:pt idx="458">
                  <c:v>31</c:v>
                </c:pt>
                <c:pt idx="459">
                  <c:v>27</c:v>
                </c:pt>
                <c:pt idx="460">
                  <c:v>9</c:v>
                </c:pt>
                <c:pt idx="461">
                  <c:v>44</c:v>
                </c:pt>
                <c:pt idx="462">
                  <c:v>47</c:v>
                </c:pt>
                <c:pt idx="463">
                  <c:v>34</c:v>
                </c:pt>
                <c:pt idx="464">
                  <c:v>39</c:v>
                </c:pt>
                <c:pt idx="465">
                  <c:v>22</c:v>
                </c:pt>
                <c:pt idx="466">
                  <c:v>16</c:v>
                </c:pt>
                <c:pt idx="467">
                  <c:v>6</c:v>
                </c:pt>
                <c:pt idx="468">
                  <c:v>17</c:v>
                </c:pt>
                <c:pt idx="469">
                  <c:v>38</c:v>
                </c:pt>
                <c:pt idx="470">
                  <c:v>33</c:v>
                </c:pt>
                <c:pt idx="471">
                  <c:v>16</c:v>
                </c:pt>
                <c:pt idx="472">
                  <c:v>12</c:v>
                </c:pt>
                <c:pt idx="473">
                  <c:v>1</c:v>
                </c:pt>
                <c:pt idx="47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celkem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76</c:f>
              <c:numCache>
                <c:formatCode>m/d/yyyy</c:formatCode>
                <c:ptCount val="4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</c:numCache>
            </c:numRef>
          </c:cat>
          <c:val>
            <c:numRef>
              <c:f>Sheet1!$B$2:$B$476</c:f>
              <c:numCache>
                <c:formatCode>#\ ##0_ ;\-#\ ##0\ </c:formatCode>
                <c:ptCount val="475"/>
                <c:pt idx="0">
                  <c:v>7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4</c:v>
                </c:pt>
                <c:pt idx="12">
                  <c:v>1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4</c:v>
                </c:pt>
                <c:pt idx="18">
                  <c:v>2</c:v>
                </c:pt>
                <c:pt idx="19">
                  <c:v>7</c:v>
                </c:pt>
                <c:pt idx="20">
                  <c:v>6</c:v>
                </c:pt>
                <c:pt idx="21">
                  <c:v>4</c:v>
                </c:pt>
                <c:pt idx="22">
                  <c:v>2</c:v>
                </c:pt>
                <c:pt idx="23">
                  <c:v>7</c:v>
                </c:pt>
                <c:pt idx="24">
                  <c:v>13</c:v>
                </c:pt>
                <c:pt idx="25">
                  <c:v>12</c:v>
                </c:pt>
                <c:pt idx="26">
                  <c:v>7</c:v>
                </c:pt>
                <c:pt idx="27">
                  <c:v>7</c:v>
                </c:pt>
                <c:pt idx="28">
                  <c:v>28</c:v>
                </c:pt>
                <c:pt idx="29">
                  <c:v>38</c:v>
                </c:pt>
                <c:pt idx="30">
                  <c:v>61</c:v>
                </c:pt>
                <c:pt idx="31">
                  <c:v>156</c:v>
                </c:pt>
                <c:pt idx="32">
                  <c:v>67</c:v>
                </c:pt>
                <c:pt idx="33">
                  <c:v>83</c:v>
                </c:pt>
                <c:pt idx="34">
                  <c:v>257</c:v>
                </c:pt>
                <c:pt idx="35">
                  <c:v>128</c:v>
                </c:pt>
                <c:pt idx="36">
                  <c:v>87</c:v>
                </c:pt>
                <c:pt idx="37">
                  <c:v>162</c:v>
                </c:pt>
                <c:pt idx="38">
                  <c:v>226</c:v>
                </c:pt>
                <c:pt idx="39">
                  <c:v>81</c:v>
                </c:pt>
                <c:pt idx="40">
                  <c:v>36</c:v>
                </c:pt>
                <c:pt idx="41">
                  <c:v>297</c:v>
                </c:pt>
                <c:pt idx="42">
                  <c:v>376</c:v>
                </c:pt>
                <c:pt idx="43">
                  <c:v>372</c:v>
                </c:pt>
                <c:pt idx="44">
                  <c:v>392</c:v>
                </c:pt>
                <c:pt idx="45">
                  <c:v>416</c:v>
                </c:pt>
                <c:pt idx="46">
                  <c:v>259</c:v>
                </c:pt>
                <c:pt idx="47">
                  <c:v>89</c:v>
                </c:pt>
                <c:pt idx="48">
                  <c:v>433</c:v>
                </c:pt>
                <c:pt idx="49">
                  <c:v>393</c:v>
                </c:pt>
                <c:pt idx="50">
                  <c:v>583</c:v>
                </c:pt>
                <c:pt idx="51">
                  <c:v>463</c:v>
                </c:pt>
                <c:pt idx="52">
                  <c:v>749</c:v>
                </c:pt>
                <c:pt idx="53">
                  <c:v>414</c:v>
                </c:pt>
                <c:pt idx="54">
                  <c:v>285</c:v>
                </c:pt>
                <c:pt idx="55">
                  <c:v>762</c:v>
                </c:pt>
                <c:pt idx="56">
                  <c:v>918</c:v>
                </c:pt>
                <c:pt idx="57">
                  <c:v>393</c:v>
                </c:pt>
                <c:pt idx="58">
                  <c:v>1007</c:v>
                </c:pt>
                <c:pt idx="59">
                  <c:v>919</c:v>
                </c:pt>
                <c:pt idx="60">
                  <c:v>520</c:v>
                </c:pt>
                <c:pt idx="61">
                  <c:v>328</c:v>
                </c:pt>
                <c:pt idx="62">
                  <c:v>628</c:v>
                </c:pt>
                <c:pt idx="63">
                  <c:v>563</c:v>
                </c:pt>
                <c:pt idx="64">
                  <c:v>753</c:v>
                </c:pt>
                <c:pt idx="65">
                  <c:v>812</c:v>
                </c:pt>
                <c:pt idx="66">
                  <c:v>728</c:v>
                </c:pt>
                <c:pt idx="67">
                  <c:v>331</c:v>
                </c:pt>
                <c:pt idx="68">
                  <c:v>126</c:v>
                </c:pt>
                <c:pt idx="69">
                  <c:v>401</c:v>
                </c:pt>
                <c:pt idx="70">
                  <c:v>590</c:v>
                </c:pt>
                <c:pt idx="71">
                  <c:v>939</c:v>
                </c:pt>
                <c:pt idx="72">
                  <c:v>728</c:v>
                </c:pt>
                <c:pt idx="73">
                  <c:v>685</c:v>
                </c:pt>
                <c:pt idx="74">
                  <c:v>252</c:v>
                </c:pt>
                <c:pt idx="75">
                  <c:v>194</c:v>
                </c:pt>
                <c:pt idx="76">
                  <c:v>560</c:v>
                </c:pt>
                <c:pt idx="77">
                  <c:v>184</c:v>
                </c:pt>
                <c:pt idx="78">
                  <c:v>428</c:v>
                </c:pt>
                <c:pt idx="79">
                  <c:v>398</c:v>
                </c:pt>
                <c:pt idx="80">
                  <c:v>358</c:v>
                </c:pt>
                <c:pt idx="81">
                  <c:v>130</c:v>
                </c:pt>
                <c:pt idx="82">
                  <c:v>108</c:v>
                </c:pt>
                <c:pt idx="83">
                  <c:v>516</c:v>
                </c:pt>
                <c:pt idx="84">
                  <c:v>303</c:v>
                </c:pt>
                <c:pt idx="85">
                  <c:v>217</c:v>
                </c:pt>
                <c:pt idx="86">
                  <c:v>249</c:v>
                </c:pt>
                <c:pt idx="87">
                  <c:v>219</c:v>
                </c:pt>
                <c:pt idx="88">
                  <c:v>101</c:v>
                </c:pt>
                <c:pt idx="89">
                  <c:v>43</c:v>
                </c:pt>
                <c:pt idx="90">
                  <c:v>318</c:v>
                </c:pt>
                <c:pt idx="91">
                  <c:v>208</c:v>
                </c:pt>
                <c:pt idx="92">
                  <c:v>198</c:v>
                </c:pt>
                <c:pt idx="93">
                  <c:v>185</c:v>
                </c:pt>
                <c:pt idx="94">
                  <c:v>231</c:v>
                </c:pt>
                <c:pt idx="95">
                  <c:v>128</c:v>
                </c:pt>
                <c:pt idx="96">
                  <c:v>45</c:v>
                </c:pt>
                <c:pt idx="97">
                  <c:v>262</c:v>
                </c:pt>
                <c:pt idx="98">
                  <c:v>165</c:v>
                </c:pt>
                <c:pt idx="99">
                  <c:v>203</c:v>
                </c:pt>
                <c:pt idx="100">
                  <c:v>142</c:v>
                </c:pt>
                <c:pt idx="101">
                  <c:v>307</c:v>
                </c:pt>
                <c:pt idx="102">
                  <c:v>88</c:v>
                </c:pt>
                <c:pt idx="103">
                  <c:v>66</c:v>
                </c:pt>
                <c:pt idx="104">
                  <c:v>276</c:v>
                </c:pt>
                <c:pt idx="105">
                  <c:v>204</c:v>
                </c:pt>
                <c:pt idx="106">
                  <c:v>195</c:v>
                </c:pt>
                <c:pt idx="107">
                  <c:v>119</c:v>
                </c:pt>
                <c:pt idx="108">
                  <c:v>304</c:v>
                </c:pt>
                <c:pt idx="109">
                  <c:v>88</c:v>
                </c:pt>
                <c:pt idx="110">
                  <c:v>48</c:v>
                </c:pt>
                <c:pt idx="111">
                  <c:v>336</c:v>
                </c:pt>
                <c:pt idx="112">
                  <c:v>287</c:v>
                </c:pt>
                <c:pt idx="113">
                  <c:v>238</c:v>
                </c:pt>
                <c:pt idx="114">
                  <c:v>46</c:v>
                </c:pt>
                <c:pt idx="115">
                  <c:v>115</c:v>
                </c:pt>
                <c:pt idx="116">
                  <c:v>127</c:v>
                </c:pt>
                <c:pt idx="117">
                  <c:v>144</c:v>
                </c:pt>
                <c:pt idx="118">
                  <c:v>356</c:v>
                </c:pt>
                <c:pt idx="119">
                  <c:v>331</c:v>
                </c:pt>
                <c:pt idx="120">
                  <c:v>255</c:v>
                </c:pt>
                <c:pt idx="121">
                  <c:v>218</c:v>
                </c:pt>
                <c:pt idx="122">
                  <c:v>94</c:v>
                </c:pt>
                <c:pt idx="123">
                  <c:v>118</c:v>
                </c:pt>
                <c:pt idx="124">
                  <c:v>76</c:v>
                </c:pt>
                <c:pt idx="125">
                  <c:v>544</c:v>
                </c:pt>
                <c:pt idx="126">
                  <c:v>295</c:v>
                </c:pt>
                <c:pt idx="127">
                  <c:v>272</c:v>
                </c:pt>
                <c:pt idx="128">
                  <c:v>331</c:v>
                </c:pt>
                <c:pt idx="129">
                  <c:v>306</c:v>
                </c:pt>
                <c:pt idx="130">
                  <c:v>109</c:v>
                </c:pt>
                <c:pt idx="131">
                  <c:v>55</c:v>
                </c:pt>
                <c:pt idx="132">
                  <c:v>468</c:v>
                </c:pt>
                <c:pt idx="133">
                  <c:v>222</c:v>
                </c:pt>
                <c:pt idx="134">
                  <c:v>282</c:v>
                </c:pt>
                <c:pt idx="135">
                  <c:v>150</c:v>
                </c:pt>
                <c:pt idx="136">
                  <c:v>151</c:v>
                </c:pt>
                <c:pt idx="137">
                  <c:v>67</c:v>
                </c:pt>
                <c:pt idx="138">
                  <c:v>71</c:v>
                </c:pt>
                <c:pt idx="139">
                  <c:v>285</c:v>
                </c:pt>
                <c:pt idx="140">
                  <c:v>154</c:v>
                </c:pt>
                <c:pt idx="141">
                  <c:v>217</c:v>
                </c:pt>
                <c:pt idx="142">
                  <c:v>166</c:v>
                </c:pt>
                <c:pt idx="143">
                  <c:v>193</c:v>
                </c:pt>
                <c:pt idx="144">
                  <c:v>79</c:v>
                </c:pt>
                <c:pt idx="145">
                  <c:v>36</c:v>
                </c:pt>
                <c:pt idx="146">
                  <c:v>173</c:v>
                </c:pt>
                <c:pt idx="147">
                  <c:v>117</c:v>
                </c:pt>
                <c:pt idx="148">
                  <c:v>154</c:v>
                </c:pt>
                <c:pt idx="149">
                  <c:v>98</c:v>
                </c:pt>
                <c:pt idx="150">
                  <c:v>83</c:v>
                </c:pt>
                <c:pt idx="151">
                  <c:v>78</c:v>
                </c:pt>
                <c:pt idx="152">
                  <c:v>18</c:v>
                </c:pt>
                <c:pt idx="153">
                  <c:v>184</c:v>
                </c:pt>
                <c:pt idx="154">
                  <c:v>163</c:v>
                </c:pt>
                <c:pt idx="155">
                  <c:v>160</c:v>
                </c:pt>
                <c:pt idx="156">
                  <c:v>124</c:v>
                </c:pt>
                <c:pt idx="157">
                  <c:v>131</c:v>
                </c:pt>
                <c:pt idx="158">
                  <c:v>53</c:v>
                </c:pt>
                <c:pt idx="159">
                  <c:v>33</c:v>
                </c:pt>
                <c:pt idx="160">
                  <c:v>135</c:v>
                </c:pt>
                <c:pt idx="161">
                  <c:v>87</c:v>
                </c:pt>
                <c:pt idx="162">
                  <c:v>100</c:v>
                </c:pt>
                <c:pt idx="163">
                  <c:v>103</c:v>
                </c:pt>
                <c:pt idx="164">
                  <c:v>91</c:v>
                </c:pt>
                <c:pt idx="165">
                  <c:v>23</c:v>
                </c:pt>
                <c:pt idx="166">
                  <c:v>23</c:v>
                </c:pt>
                <c:pt idx="167">
                  <c:v>100</c:v>
                </c:pt>
                <c:pt idx="168">
                  <c:v>50</c:v>
                </c:pt>
                <c:pt idx="169">
                  <c:v>66</c:v>
                </c:pt>
                <c:pt idx="170">
                  <c:v>56</c:v>
                </c:pt>
                <c:pt idx="171">
                  <c:v>62</c:v>
                </c:pt>
                <c:pt idx="172">
                  <c:v>24</c:v>
                </c:pt>
                <c:pt idx="173">
                  <c:v>23</c:v>
                </c:pt>
                <c:pt idx="174">
                  <c:v>162</c:v>
                </c:pt>
                <c:pt idx="175">
                  <c:v>79</c:v>
                </c:pt>
                <c:pt idx="176">
                  <c:v>68</c:v>
                </c:pt>
                <c:pt idx="177">
                  <c:v>78</c:v>
                </c:pt>
                <c:pt idx="178">
                  <c:v>85</c:v>
                </c:pt>
                <c:pt idx="179">
                  <c:v>18</c:v>
                </c:pt>
                <c:pt idx="180">
                  <c:v>12</c:v>
                </c:pt>
                <c:pt idx="181">
                  <c:v>135</c:v>
                </c:pt>
                <c:pt idx="182">
                  <c:v>67</c:v>
                </c:pt>
                <c:pt idx="183">
                  <c:v>102</c:v>
                </c:pt>
                <c:pt idx="184">
                  <c:v>47</c:v>
                </c:pt>
                <c:pt idx="185">
                  <c:v>51</c:v>
                </c:pt>
                <c:pt idx="186">
                  <c:v>19</c:v>
                </c:pt>
                <c:pt idx="187">
                  <c:v>15</c:v>
                </c:pt>
                <c:pt idx="188">
                  <c:v>87</c:v>
                </c:pt>
                <c:pt idx="189">
                  <c:v>114</c:v>
                </c:pt>
                <c:pt idx="190">
                  <c:v>84</c:v>
                </c:pt>
                <c:pt idx="191">
                  <c:v>38</c:v>
                </c:pt>
                <c:pt idx="192">
                  <c:v>43</c:v>
                </c:pt>
                <c:pt idx="193">
                  <c:v>20</c:v>
                </c:pt>
                <c:pt idx="194">
                  <c:v>13</c:v>
                </c:pt>
                <c:pt idx="195">
                  <c:v>61</c:v>
                </c:pt>
                <c:pt idx="196">
                  <c:v>43</c:v>
                </c:pt>
                <c:pt idx="197">
                  <c:v>30</c:v>
                </c:pt>
                <c:pt idx="198">
                  <c:v>53</c:v>
                </c:pt>
                <c:pt idx="199">
                  <c:v>38</c:v>
                </c:pt>
                <c:pt idx="200">
                  <c:v>10</c:v>
                </c:pt>
                <c:pt idx="201">
                  <c:v>8</c:v>
                </c:pt>
                <c:pt idx="202">
                  <c:v>43</c:v>
                </c:pt>
                <c:pt idx="203">
                  <c:v>46</c:v>
                </c:pt>
                <c:pt idx="204">
                  <c:v>29</c:v>
                </c:pt>
                <c:pt idx="205">
                  <c:v>39</c:v>
                </c:pt>
                <c:pt idx="206">
                  <c:v>22</c:v>
                </c:pt>
                <c:pt idx="207">
                  <c:v>6</c:v>
                </c:pt>
                <c:pt idx="208">
                  <c:v>5</c:v>
                </c:pt>
                <c:pt idx="209">
                  <c:v>40</c:v>
                </c:pt>
                <c:pt idx="210">
                  <c:v>24</c:v>
                </c:pt>
                <c:pt idx="211">
                  <c:v>22</c:v>
                </c:pt>
                <c:pt idx="212">
                  <c:v>21</c:v>
                </c:pt>
                <c:pt idx="213">
                  <c:v>6</c:v>
                </c:pt>
                <c:pt idx="214">
                  <c:v>6</c:v>
                </c:pt>
                <c:pt idx="215">
                  <c:v>4</c:v>
                </c:pt>
                <c:pt idx="216">
                  <c:v>6</c:v>
                </c:pt>
                <c:pt idx="217">
                  <c:v>27</c:v>
                </c:pt>
                <c:pt idx="218">
                  <c:v>34</c:v>
                </c:pt>
                <c:pt idx="219">
                  <c:v>17</c:v>
                </c:pt>
                <c:pt idx="220">
                  <c:v>11</c:v>
                </c:pt>
                <c:pt idx="221">
                  <c:v>5</c:v>
                </c:pt>
                <c:pt idx="222">
                  <c:v>1</c:v>
                </c:pt>
                <c:pt idx="223">
                  <c:v>9</c:v>
                </c:pt>
                <c:pt idx="224">
                  <c:v>8</c:v>
                </c:pt>
                <c:pt idx="225">
                  <c:v>5</c:v>
                </c:pt>
                <c:pt idx="226">
                  <c:v>9</c:v>
                </c:pt>
                <c:pt idx="227">
                  <c:v>7</c:v>
                </c:pt>
                <c:pt idx="228">
                  <c:v>2</c:v>
                </c:pt>
                <c:pt idx="229">
                  <c:v>2</c:v>
                </c:pt>
                <c:pt idx="230">
                  <c:v>15</c:v>
                </c:pt>
                <c:pt idx="231">
                  <c:v>7</c:v>
                </c:pt>
                <c:pt idx="232">
                  <c:v>6</c:v>
                </c:pt>
                <c:pt idx="233">
                  <c:v>13</c:v>
                </c:pt>
                <c:pt idx="234">
                  <c:v>7</c:v>
                </c:pt>
                <c:pt idx="235">
                  <c:v>2</c:v>
                </c:pt>
                <c:pt idx="236">
                  <c:v>0</c:v>
                </c:pt>
                <c:pt idx="237">
                  <c:v>8</c:v>
                </c:pt>
                <c:pt idx="238">
                  <c:v>10</c:v>
                </c:pt>
                <c:pt idx="239">
                  <c:v>3</c:v>
                </c:pt>
                <c:pt idx="240">
                  <c:v>4</c:v>
                </c:pt>
                <c:pt idx="241">
                  <c:v>6</c:v>
                </c:pt>
                <c:pt idx="242">
                  <c:v>0</c:v>
                </c:pt>
                <c:pt idx="243">
                  <c:v>1</c:v>
                </c:pt>
                <c:pt idx="244">
                  <c:v>2</c:v>
                </c:pt>
                <c:pt idx="245">
                  <c:v>2</c:v>
                </c:pt>
                <c:pt idx="246">
                  <c:v>3</c:v>
                </c:pt>
                <c:pt idx="247">
                  <c:v>5</c:v>
                </c:pt>
                <c:pt idx="248">
                  <c:v>3</c:v>
                </c:pt>
                <c:pt idx="249">
                  <c:v>1</c:v>
                </c:pt>
                <c:pt idx="250">
                  <c:v>3</c:v>
                </c:pt>
                <c:pt idx="251">
                  <c:v>6</c:v>
                </c:pt>
                <c:pt idx="252">
                  <c:v>6</c:v>
                </c:pt>
                <c:pt idx="253">
                  <c:v>0</c:v>
                </c:pt>
                <c:pt idx="254">
                  <c:v>4</c:v>
                </c:pt>
                <c:pt idx="255">
                  <c:v>4</c:v>
                </c:pt>
                <c:pt idx="256">
                  <c:v>1</c:v>
                </c:pt>
                <c:pt idx="257">
                  <c:v>0</c:v>
                </c:pt>
                <c:pt idx="258">
                  <c:v>7</c:v>
                </c:pt>
                <c:pt idx="259">
                  <c:v>4</c:v>
                </c:pt>
                <c:pt idx="260">
                  <c:v>3</c:v>
                </c:pt>
                <c:pt idx="261">
                  <c:v>3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4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2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3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3</c:v>
                </c:pt>
                <c:pt idx="366">
                  <c:v>5</c:v>
                </c:pt>
                <c:pt idx="367">
                  <c:v>3</c:v>
                </c:pt>
                <c:pt idx="368">
                  <c:v>1</c:v>
                </c:pt>
                <c:pt idx="369">
                  <c:v>0</c:v>
                </c:pt>
                <c:pt idx="370">
                  <c:v>5</c:v>
                </c:pt>
                <c:pt idx="371">
                  <c:v>2</c:v>
                </c:pt>
                <c:pt idx="372">
                  <c:v>1</c:v>
                </c:pt>
                <c:pt idx="373">
                  <c:v>2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5</c:v>
                </c:pt>
                <c:pt idx="385">
                  <c:v>7</c:v>
                </c:pt>
                <c:pt idx="386">
                  <c:v>3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7</c:v>
                </c:pt>
                <c:pt idx="392">
                  <c:v>2</c:v>
                </c:pt>
                <c:pt idx="393">
                  <c:v>8</c:v>
                </c:pt>
                <c:pt idx="394">
                  <c:v>3</c:v>
                </c:pt>
                <c:pt idx="395">
                  <c:v>3</c:v>
                </c:pt>
                <c:pt idx="396">
                  <c:v>1</c:v>
                </c:pt>
                <c:pt idx="397">
                  <c:v>1</c:v>
                </c:pt>
                <c:pt idx="398">
                  <c:v>5</c:v>
                </c:pt>
                <c:pt idx="399">
                  <c:v>7</c:v>
                </c:pt>
                <c:pt idx="400">
                  <c:v>13</c:v>
                </c:pt>
                <c:pt idx="401">
                  <c:v>3</c:v>
                </c:pt>
                <c:pt idx="402">
                  <c:v>27</c:v>
                </c:pt>
                <c:pt idx="403">
                  <c:v>2</c:v>
                </c:pt>
                <c:pt idx="404">
                  <c:v>0</c:v>
                </c:pt>
                <c:pt idx="405">
                  <c:v>3</c:v>
                </c:pt>
                <c:pt idx="406">
                  <c:v>3</c:v>
                </c:pt>
                <c:pt idx="407">
                  <c:v>21</c:v>
                </c:pt>
                <c:pt idx="408">
                  <c:v>6</c:v>
                </c:pt>
                <c:pt idx="409">
                  <c:v>8</c:v>
                </c:pt>
                <c:pt idx="410">
                  <c:v>2</c:v>
                </c:pt>
                <c:pt idx="411">
                  <c:v>1</c:v>
                </c:pt>
                <c:pt idx="412">
                  <c:v>18</c:v>
                </c:pt>
                <c:pt idx="413">
                  <c:v>12</c:v>
                </c:pt>
                <c:pt idx="414">
                  <c:v>13</c:v>
                </c:pt>
                <c:pt idx="415">
                  <c:v>9</c:v>
                </c:pt>
                <c:pt idx="416">
                  <c:v>15</c:v>
                </c:pt>
                <c:pt idx="417">
                  <c:v>1</c:v>
                </c:pt>
                <c:pt idx="418">
                  <c:v>4</c:v>
                </c:pt>
                <c:pt idx="419">
                  <c:v>33</c:v>
                </c:pt>
                <c:pt idx="420">
                  <c:v>14</c:v>
                </c:pt>
                <c:pt idx="421">
                  <c:v>28</c:v>
                </c:pt>
                <c:pt idx="422">
                  <c:v>3</c:v>
                </c:pt>
                <c:pt idx="423">
                  <c:v>26</c:v>
                </c:pt>
                <c:pt idx="424">
                  <c:v>12</c:v>
                </c:pt>
                <c:pt idx="425">
                  <c:v>15</c:v>
                </c:pt>
                <c:pt idx="426">
                  <c:v>75</c:v>
                </c:pt>
                <c:pt idx="427">
                  <c:v>38</c:v>
                </c:pt>
                <c:pt idx="428">
                  <c:v>35</c:v>
                </c:pt>
                <c:pt idx="429">
                  <c:v>76</c:v>
                </c:pt>
                <c:pt idx="430">
                  <c:v>50</c:v>
                </c:pt>
                <c:pt idx="431">
                  <c:v>19</c:v>
                </c:pt>
                <c:pt idx="432">
                  <c:v>10</c:v>
                </c:pt>
                <c:pt idx="433">
                  <c:v>79</c:v>
                </c:pt>
                <c:pt idx="434">
                  <c:v>54</c:v>
                </c:pt>
                <c:pt idx="435">
                  <c:v>44</c:v>
                </c:pt>
                <c:pt idx="436">
                  <c:v>53</c:v>
                </c:pt>
                <c:pt idx="437">
                  <c:v>51</c:v>
                </c:pt>
                <c:pt idx="438">
                  <c:v>33</c:v>
                </c:pt>
                <c:pt idx="439">
                  <c:v>28</c:v>
                </c:pt>
                <c:pt idx="440">
                  <c:v>98</c:v>
                </c:pt>
                <c:pt idx="441">
                  <c:v>65</c:v>
                </c:pt>
                <c:pt idx="442">
                  <c:v>36</c:v>
                </c:pt>
                <c:pt idx="443">
                  <c:v>97</c:v>
                </c:pt>
                <c:pt idx="444">
                  <c:v>136</c:v>
                </c:pt>
                <c:pt idx="445">
                  <c:v>37</c:v>
                </c:pt>
                <c:pt idx="446">
                  <c:v>16</c:v>
                </c:pt>
                <c:pt idx="447">
                  <c:v>116</c:v>
                </c:pt>
                <c:pt idx="448">
                  <c:v>67</c:v>
                </c:pt>
                <c:pt idx="449">
                  <c:v>86</c:v>
                </c:pt>
                <c:pt idx="450">
                  <c:v>76</c:v>
                </c:pt>
                <c:pt idx="451">
                  <c:v>99</c:v>
                </c:pt>
                <c:pt idx="452">
                  <c:v>24</c:v>
                </c:pt>
                <c:pt idx="453">
                  <c:v>15</c:v>
                </c:pt>
                <c:pt idx="454">
                  <c:v>76</c:v>
                </c:pt>
                <c:pt idx="455">
                  <c:v>54</c:v>
                </c:pt>
                <c:pt idx="456">
                  <c:v>64</c:v>
                </c:pt>
                <c:pt idx="457">
                  <c:v>63</c:v>
                </c:pt>
                <c:pt idx="458">
                  <c:v>47</c:v>
                </c:pt>
                <c:pt idx="459">
                  <c:v>66</c:v>
                </c:pt>
                <c:pt idx="460">
                  <c:v>14</c:v>
                </c:pt>
                <c:pt idx="461">
                  <c:v>68</c:v>
                </c:pt>
                <c:pt idx="462">
                  <c:v>61</c:v>
                </c:pt>
                <c:pt idx="463">
                  <c:v>60</c:v>
                </c:pt>
                <c:pt idx="464">
                  <c:v>70</c:v>
                </c:pt>
                <c:pt idx="465">
                  <c:v>44</c:v>
                </c:pt>
                <c:pt idx="466">
                  <c:v>19</c:v>
                </c:pt>
                <c:pt idx="467" formatCode="General">
                  <c:v>7</c:v>
                </c:pt>
                <c:pt idx="468" formatCode="General">
                  <c:v>30</c:v>
                </c:pt>
                <c:pt idx="469" formatCode="General">
                  <c:v>64</c:v>
                </c:pt>
                <c:pt idx="470" formatCode="General">
                  <c:v>44</c:v>
                </c:pt>
                <c:pt idx="471" formatCode="General">
                  <c:v>33</c:v>
                </c:pt>
                <c:pt idx="472" formatCode="General">
                  <c:v>30</c:v>
                </c:pt>
                <c:pt idx="473" formatCode="General">
                  <c:v>1</c:v>
                </c:pt>
                <c:pt idx="474" formatCode="General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C0-4B0C-A220-7796AA6DA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mrti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76</c:f>
              <c:numCache>
                <c:formatCode>m/d/yyyy</c:formatCode>
                <c:ptCount val="4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</c:numCache>
            </c:numRef>
          </c:cat>
          <c:val>
            <c:numRef>
              <c:f>Sheet1!$B$2:$B$476</c:f>
              <c:numCache>
                <c:formatCode>#\ ##0_ ;\-#\ ##0\ </c:formatCode>
                <c:ptCount val="4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6</c:v>
                </c:pt>
                <c:pt idx="36">
                  <c:v>5</c:v>
                </c:pt>
                <c:pt idx="37">
                  <c:v>4</c:v>
                </c:pt>
                <c:pt idx="38">
                  <c:v>9</c:v>
                </c:pt>
                <c:pt idx="39">
                  <c:v>6</c:v>
                </c:pt>
                <c:pt idx="40">
                  <c:v>1</c:v>
                </c:pt>
                <c:pt idx="41">
                  <c:v>11</c:v>
                </c:pt>
                <c:pt idx="42">
                  <c:v>9</c:v>
                </c:pt>
                <c:pt idx="43">
                  <c:v>12</c:v>
                </c:pt>
                <c:pt idx="44">
                  <c:v>7</c:v>
                </c:pt>
                <c:pt idx="45">
                  <c:v>8</c:v>
                </c:pt>
                <c:pt idx="46">
                  <c:v>7</c:v>
                </c:pt>
                <c:pt idx="47">
                  <c:v>17</c:v>
                </c:pt>
                <c:pt idx="48">
                  <c:v>20</c:v>
                </c:pt>
                <c:pt idx="49">
                  <c:v>13</c:v>
                </c:pt>
                <c:pt idx="50">
                  <c:v>28</c:v>
                </c:pt>
                <c:pt idx="51">
                  <c:v>17</c:v>
                </c:pt>
                <c:pt idx="52">
                  <c:v>15</c:v>
                </c:pt>
                <c:pt idx="53">
                  <c:v>21</c:v>
                </c:pt>
                <c:pt idx="54">
                  <c:v>25</c:v>
                </c:pt>
                <c:pt idx="55">
                  <c:v>34</c:v>
                </c:pt>
                <c:pt idx="56">
                  <c:v>41</c:v>
                </c:pt>
                <c:pt idx="57">
                  <c:v>27</c:v>
                </c:pt>
                <c:pt idx="58">
                  <c:v>46</c:v>
                </c:pt>
                <c:pt idx="59">
                  <c:v>36</c:v>
                </c:pt>
                <c:pt idx="60">
                  <c:v>46</c:v>
                </c:pt>
                <c:pt idx="61">
                  <c:v>47</c:v>
                </c:pt>
                <c:pt idx="62">
                  <c:v>52</c:v>
                </c:pt>
                <c:pt idx="63">
                  <c:v>48</c:v>
                </c:pt>
                <c:pt idx="64">
                  <c:v>54</c:v>
                </c:pt>
                <c:pt idx="65">
                  <c:v>42</c:v>
                </c:pt>
                <c:pt idx="66">
                  <c:v>45</c:v>
                </c:pt>
                <c:pt idx="67">
                  <c:v>42</c:v>
                </c:pt>
                <c:pt idx="68">
                  <c:v>40</c:v>
                </c:pt>
                <c:pt idx="69">
                  <c:v>38</c:v>
                </c:pt>
                <c:pt idx="70">
                  <c:v>44</c:v>
                </c:pt>
                <c:pt idx="71">
                  <c:v>43</c:v>
                </c:pt>
                <c:pt idx="72">
                  <c:v>48</c:v>
                </c:pt>
                <c:pt idx="73">
                  <c:v>49</c:v>
                </c:pt>
                <c:pt idx="74">
                  <c:v>36</c:v>
                </c:pt>
                <c:pt idx="75">
                  <c:v>25</c:v>
                </c:pt>
                <c:pt idx="76">
                  <c:v>35</c:v>
                </c:pt>
                <c:pt idx="77">
                  <c:v>41</c:v>
                </c:pt>
                <c:pt idx="78">
                  <c:v>40</c:v>
                </c:pt>
                <c:pt idx="79">
                  <c:v>37</c:v>
                </c:pt>
                <c:pt idx="80">
                  <c:v>34</c:v>
                </c:pt>
                <c:pt idx="81">
                  <c:v>39</c:v>
                </c:pt>
                <c:pt idx="82">
                  <c:v>29</c:v>
                </c:pt>
                <c:pt idx="83">
                  <c:v>37</c:v>
                </c:pt>
                <c:pt idx="84">
                  <c:v>41</c:v>
                </c:pt>
                <c:pt idx="85">
                  <c:v>28</c:v>
                </c:pt>
                <c:pt idx="86">
                  <c:v>36</c:v>
                </c:pt>
                <c:pt idx="87">
                  <c:v>31</c:v>
                </c:pt>
                <c:pt idx="88">
                  <c:v>31</c:v>
                </c:pt>
                <c:pt idx="89">
                  <c:v>27</c:v>
                </c:pt>
                <c:pt idx="90">
                  <c:v>41</c:v>
                </c:pt>
                <c:pt idx="91">
                  <c:v>24</c:v>
                </c:pt>
                <c:pt idx="92">
                  <c:v>25</c:v>
                </c:pt>
                <c:pt idx="93">
                  <c:v>20</c:v>
                </c:pt>
                <c:pt idx="94">
                  <c:v>20</c:v>
                </c:pt>
                <c:pt idx="95">
                  <c:v>30</c:v>
                </c:pt>
                <c:pt idx="96">
                  <c:v>17</c:v>
                </c:pt>
                <c:pt idx="97">
                  <c:v>21</c:v>
                </c:pt>
                <c:pt idx="98">
                  <c:v>19</c:v>
                </c:pt>
                <c:pt idx="99">
                  <c:v>15</c:v>
                </c:pt>
                <c:pt idx="100">
                  <c:v>25</c:v>
                </c:pt>
                <c:pt idx="101">
                  <c:v>19</c:v>
                </c:pt>
                <c:pt idx="102">
                  <c:v>25</c:v>
                </c:pt>
                <c:pt idx="103">
                  <c:v>18</c:v>
                </c:pt>
                <c:pt idx="104">
                  <c:v>24</c:v>
                </c:pt>
                <c:pt idx="105">
                  <c:v>26</c:v>
                </c:pt>
                <c:pt idx="106">
                  <c:v>25</c:v>
                </c:pt>
                <c:pt idx="107">
                  <c:v>30</c:v>
                </c:pt>
                <c:pt idx="108">
                  <c:v>22</c:v>
                </c:pt>
                <c:pt idx="109">
                  <c:v>11</c:v>
                </c:pt>
                <c:pt idx="110">
                  <c:v>11</c:v>
                </c:pt>
                <c:pt idx="111">
                  <c:v>34</c:v>
                </c:pt>
                <c:pt idx="112">
                  <c:v>19</c:v>
                </c:pt>
                <c:pt idx="113">
                  <c:v>22</c:v>
                </c:pt>
                <c:pt idx="114">
                  <c:v>14</c:v>
                </c:pt>
                <c:pt idx="115">
                  <c:v>21</c:v>
                </c:pt>
                <c:pt idx="116">
                  <c:v>20</c:v>
                </c:pt>
                <c:pt idx="117">
                  <c:v>11</c:v>
                </c:pt>
                <c:pt idx="118">
                  <c:v>25</c:v>
                </c:pt>
                <c:pt idx="119">
                  <c:v>13</c:v>
                </c:pt>
                <c:pt idx="120">
                  <c:v>14</c:v>
                </c:pt>
                <c:pt idx="121">
                  <c:v>13</c:v>
                </c:pt>
                <c:pt idx="122">
                  <c:v>14</c:v>
                </c:pt>
                <c:pt idx="123">
                  <c:v>24</c:v>
                </c:pt>
                <c:pt idx="124">
                  <c:v>19</c:v>
                </c:pt>
                <c:pt idx="125">
                  <c:v>20</c:v>
                </c:pt>
                <c:pt idx="126">
                  <c:v>20</c:v>
                </c:pt>
                <c:pt idx="127">
                  <c:v>23</c:v>
                </c:pt>
                <c:pt idx="128">
                  <c:v>15</c:v>
                </c:pt>
                <c:pt idx="129">
                  <c:v>21</c:v>
                </c:pt>
                <c:pt idx="130">
                  <c:v>13</c:v>
                </c:pt>
                <c:pt idx="131">
                  <c:v>14</c:v>
                </c:pt>
                <c:pt idx="132">
                  <c:v>21</c:v>
                </c:pt>
                <c:pt idx="133">
                  <c:v>20</c:v>
                </c:pt>
                <c:pt idx="134">
                  <c:v>17</c:v>
                </c:pt>
                <c:pt idx="135">
                  <c:v>23</c:v>
                </c:pt>
                <c:pt idx="136">
                  <c:v>21</c:v>
                </c:pt>
                <c:pt idx="137">
                  <c:v>17</c:v>
                </c:pt>
                <c:pt idx="138">
                  <c:v>18</c:v>
                </c:pt>
                <c:pt idx="139">
                  <c:v>22</c:v>
                </c:pt>
                <c:pt idx="140">
                  <c:v>19</c:v>
                </c:pt>
                <c:pt idx="141">
                  <c:v>17</c:v>
                </c:pt>
                <c:pt idx="142">
                  <c:v>14</c:v>
                </c:pt>
                <c:pt idx="143">
                  <c:v>15</c:v>
                </c:pt>
                <c:pt idx="144">
                  <c:v>10</c:v>
                </c:pt>
                <c:pt idx="145">
                  <c:v>13</c:v>
                </c:pt>
                <c:pt idx="146">
                  <c:v>10</c:v>
                </c:pt>
                <c:pt idx="147">
                  <c:v>17</c:v>
                </c:pt>
                <c:pt idx="148">
                  <c:v>14</c:v>
                </c:pt>
                <c:pt idx="149">
                  <c:v>16</c:v>
                </c:pt>
                <c:pt idx="150">
                  <c:v>16</c:v>
                </c:pt>
                <c:pt idx="151">
                  <c:v>11</c:v>
                </c:pt>
                <c:pt idx="152">
                  <c:v>11</c:v>
                </c:pt>
                <c:pt idx="153">
                  <c:v>16</c:v>
                </c:pt>
                <c:pt idx="154">
                  <c:v>9</c:v>
                </c:pt>
                <c:pt idx="155">
                  <c:v>9</c:v>
                </c:pt>
                <c:pt idx="156">
                  <c:v>13</c:v>
                </c:pt>
                <c:pt idx="157">
                  <c:v>10</c:v>
                </c:pt>
                <c:pt idx="158">
                  <c:v>8</c:v>
                </c:pt>
                <c:pt idx="159">
                  <c:v>7</c:v>
                </c:pt>
                <c:pt idx="160">
                  <c:v>8</c:v>
                </c:pt>
                <c:pt idx="161">
                  <c:v>9</c:v>
                </c:pt>
                <c:pt idx="162">
                  <c:v>7</c:v>
                </c:pt>
                <c:pt idx="163">
                  <c:v>8</c:v>
                </c:pt>
                <c:pt idx="164">
                  <c:v>12</c:v>
                </c:pt>
                <c:pt idx="165">
                  <c:v>9</c:v>
                </c:pt>
                <c:pt idx="166">
                  <c:v>12</c:v>
                </c:pt>
                <c:pt idx="167">
                  <c:v>12</c:v>
                </c:pt>
                <c:pt idx="168">
                  <c:v>6</c:v>
                </c:pt>
                <c:pt idx="169">
                  <c:v>6</c:v>
                </c:pt>
                <c:pt idx="170">
                  <c:v>4</c:v>
                </c:pt>
                <c:pt idx="171">
                  <c:v>6</c:v>
                </c:pt>
                <c:pt idx="172">
                  <c:v>6</c:v>
                </c:pt>
                <c:pt idx="173">
                  <c:v>5</c:v>
                </c:pt>
                <c:pt idx="174">
                  <c:v>8</c:v>
                </c:pt>
                <c:pt idx="175">
                  <c:v>6</c:v>
                </c:pt>
                <c:pt idx="176">
                  <c:v>5</c:v>
                </c:pt>
                <c:pt idx="177">
                  <c:v>7</c:v>
                </c:pt>
                <c:pt idx="178">
                  <c:v>4</c:v>
                </c:pt>
                <c:pt idx="179">
                  <c:v>6</c:v>
                </c:pt>
                <c:pt idx="180">
                  <c:v>5</c:v>
                </c:pt>
                <c:pt idx="181">
                  <c:v>14</c:v>
                </c:pt>
                <c:pt idx="182">
                  <c:v>16</c:v>
                </c:pt>
                <c:pt idx="183">
                  <c:v>10</c:v>
                </c:pt>
                <c:pt idx="184">
                  <c:v>4</c:v>
                </c:pt>
                <c:pt idx="185">
                  <c:v>6</c:v>
                </c:pt>
                <c:pt idx="186">
                  <c:v>9</c:v>
                </c:pt>
                <c:pt idx="187">
                  <c:v>4</c:v>
                </c:pt>
                <c:pt idx="188">
                  <c:v>5</c:v>
                </c:pt>
                <c:pt idx="189">
                  <c:v>5</c:v>
                </c:pt>
                <c:pt idx="190">
                  <c:v>6</c:v>
                </c:pt>
                <c:pt idx="191">
                  <c:v>2</c:v>
                </c:pt>
                <c:pt idx="192">
                  <c:v>6</c:v>
                </c:pt>
                <c:pt idx="193">
                  <c:v>5</c:v>
                </c:pt>
                <c:pt idx="194">
                  <c:v>6</c:v>
                </c:pt>
                <c:pt idx="195">
                  <c:v>8</c:v>
                </c:pt>
                <c:pt idx="196">
                  <c:v>8</c:v>
                </c:pt>
                <c:pt idx="197">
                  <c:v>5</c:v>
                </c:pt>
                <c:pt idx="198">
                  <c:v>6</c:v>
                </c:pt>
                <c:pt idx="199">
                  <c:v>1</c:v>
                </c:pt>
                <c:pt idx="200">
                  <c:v>5</c:v>
                </c:pt>
                <c:pt idx="201">
                  <c:v>7</c:v>
                </c:pt>
                <c:pt idx="202">
                  <c:v>5</c:v>
                </c:pt>
                <c:pt idx="203">
                  <c:v>2</c:v>
                </c:pt>
                <c:pt idx="204">
                  <c:v>3</c:v>
                </c:pt>
                <c:pt idx="205">
                  <c:v>3</c:v>
                </c:pt>
                <c:pt idx="206">
                  <c:v>4</c:v>
                </c:pt>
                <c:pt idx="207">
                  <c:v>2</c:v>
                </c:pt>
                <c:pt idx="208">
                  <c:v>1</c:v>
                </c:pt>
                <c:pt idx="209">
                  <c:v>4</c:v>
                </c:pt>
                <c:pt idx="210">
                  <c:v>2</c:v>
                </c:pt>
                <c:pt idx="211">
                  <c:v>2</c:v>
                </c:pt>
                <c:pt idx="212">
                  <c:v>1</c:v>
                </c:pt>
                <c:pt idx="213">
                  <c:v>2</c:v>
                </c:pt>
                <c:pt idx="214">
                  <c:v>1</c:v>
                </c:pt>
                <c:pt idx="215">
                  <c:v>2</c:v>
                </c:pt>
                <c:pt idx="216">
                  <c:v>3</c:v>
                </c:pt>
                <c:pt idx="217">
                  <c:v>2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2</c:v>
                </c:pt>
                <c:pt idx="223">
                  <c:v>0</c:v>
                </c:pt>
                <c:pt idx="224">
                  <c:v>2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1</c:v>
                </c:pt>
                <c:pt idx="230">
                  <c:v>1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2</c:v>
                </c:pt>
                <c:pt idx="235">
                  <c:v>1</c:v>
                </c:pt>
                <c:pt idx="236">
                  <c:v>1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2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2</c:v>
                </c:pt>
                <c:pt idx="256">
                  <c:v>0</c:v>
                </c:pt>
                <c:pt idx="257">
                  <c:v>0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2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</c:v>
                </c:pt>
                <c:pt idx="409">
                  <c:v>0</c:v>
                </c:pt>
                <c:pt idx="410">
                  <c:v>0</c:v>
                </c:pt>
                <c:pt idx="411">
                  <c:v>2</c:v>
                </c:pt>
                <c:pt idx="412">
                  <c:v>2</c:v>
                </c:pt>
                <c:pt idx="413">
                  <c:v>0</c:v>
                </c:pt>
                <c:pt idx="414">
                  <c:v>0</c:v>
                </c:pt>
                <c:pt idx="415">
                  <c:v>1</c:v>
                </c:pt>
                <c:pt idx="416">
                  <c:v>0</c:v>
                </c:pt>
                <c:pt idx="417">
                  <c:v>0</c:v>
                </c:pt>
                <c:pt idx="418">
                  <c:v>1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3</c:v>
                </c:pt>
                <c:pt idx="424">
                  <c:v>1</c:v>
                </c:pt>
                <c:pt idx="425">
                  <c:v>0</c:v>
                </c:pt>
                <c:pt idx="426">
                  <c:v>1</c:v>
                </c:pt>
                <c:pt idx="427">
                  <c:v>2</c:v>
                </c:pt>
                <c:pt idx="428">
                  <c:v>0</c:v>
                </c:pt>
                <c:pt idx="429">
                  <c:v>2</c:v>
                </c:pt>
                <c:pt idx="430">
                  <c:v>7</c:v>
                </c:pt>
                <c:pt idx="431">
                  <c:v>5</c:v>
                </c:pt>
                <c:pt idx="432">
                  <c:v>3</c:v>
                </c:pt>
                <c:pt idx="433">
                  <c:v>6</c:v>
                </c:pt>
                <c:pt idx="434">
                  <c:v>4</c:v>
                </c:pt>
                <c:pt idx="435">
                  <c:v>2</c:v>
                </c:pt>
                <c:pt idx="436">
                  <c:v>3</c:v>
                </c:pt>
                <c:pt idx="437">
                  <c:v>3</c:v>
                </c:pt>
                <c:pt idx="438">
                  <c:v>4</c:v>
                </c:pt>
                <c:pt idx="439">
                  <c:v>5</c:v>
                </c:pt>
                <c:pt idx="440">
                  <c:v>4</c:v>
                </c:pt>
                <c:pt idx="441">
                  <c:v>1</c:v>
                </c:pt>
                <c:pt idx="442">
                  <c:v>1</c:v>
                </c:pt>
                <c:pt idx="443">
                  <c:v>3</c:v>
                </c:pt>
                <c:pt idx="444">
                  <c:v>4</c:v>
                </c:pt>
                <c:pt idx="445">
                  <c:v>4</c:v>
                </c:pt>
                <c:pt idx="446">
                  <c:v>3</c:v>
                </c:pt>
                <c:pt idx="447">
                  <c:v>3</c:v>
                </c:pt>
                <c:pt idx="448">
                  <c:v>6</c:v>
                </c:pt>
                <c:pt idx="449">
                  <c:v>3</c:v>
                </c:pt>
                <c:pt idx="450">
                  <c:v>3</c:v>
                </c:pt>
                <c:pt idx="451">
                  <c:v>12</c:v>
                </c:pt>
                <c:pt idx="452">
                  <c:v>4</c:v>
                </c:pt>
                <c:pt idx="453">
                  <c:v>5</c:v>
                </c:pt>
                <c:pt idx="454">
                  <c:v>4</c:v>
                </c:pt>
                <c:pt idx="455">
                  <c:v>5</c:v>
                </c:pt>
                <c:pt idx="456">
                  <c:v>5</c:v>
                </c:pt>
                <c:pt idx="457">
                  <c:v>1</c:v>
                </c:pt>
                <c:pt idx="458">
                  <c:v>0</c:v>
                </c:pt>
                <c:pt idx="459">
                  <c:v>1</c:v>
                </c:pt>
                <c:pt idx="460">
                  <c:v>5</c:v>
                </c:pt>
                <c:pt idx="461">
                  <c:v>4</c:v>
                </c:pt>
                <c:pt idx="462">
                  <c:v>2</c:v>
                </c:pt>
                <c:pt idx="463">
                  <c:v>5</c:v>
                </c:pt>
                <c:pt idx="464">
                  <c:v>4</c:v>
                </c:pt>
                <c:pt idx="465">
                  <c:v>2</c:v>
                </c:pt>
                <c:pt idx="466">
                  <c:v>1</c:v>
                </c:pt>
                <c:pt idx="467">
                  <c:v>2</c:v>
                </c:pt>
                <c:pt idx="468">
                  <c:v>2</c:v>
                </c:pt>
                <c:pt idx="469">
                  <c:v>4</c:v>
                </c:pt>
                <c:pt idx="470">
                  <c:v>2</c:v>
                </c:pt>
                <c:pt idx="471">
                  <c:v>4</c:v>
                </c:pt>
                <c:pt idx="472">
                  <c:v>3</c:v>
                </c:pt>
                <c:pt idx="473">
                  <c:v>0</c:v>
                </c:pt>
                <c:pt idx="47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čet nákaz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U$1</c:f>
              <c:strCache>
                <c:ptCount val="20"/>
                <c:pt idx="0">
                  <c:v>05/2020</c:v>
                </c:pt>
                <c:pt idx="1">
                  <c:v>06/2020</c:v>
                </c:pt>
                <c:pt idx="2">
                  <c:v>07/2020</c:v>
                </c:pt>
                <c:pt idx="3">
                  <c:v>08/2020</c:v>
                </c:pt>
                <c:pt idx="4">
                  <c:v>09/2020</c:v>
                </c:pt>
                <c:pt idx="5">
                  <c:v>10/2020</c:v>
                </c:pt>
                <c:pt idx="6">
                  <c:v>11/2020</c:v>
                </c:pt>
                <c:pt idx="7">
                  <c:v>12/2020</c:v>
                </c:pt>
                <c:pt idx="8">
                  <c:v>01/2021</c:v>
                </c:pt>
                <c:pt idx="9">
                  <c:v>02/2021</c:v>
                </c:pt>
                <c:pt idx="10">
                  <c:v>03/2021</c:v>
                </c:pt>
                <c:pt idx="11">
                  <c:v>04/2021</c:v>
                </c:pt>
                <c:pt idx="12">
                  <c:v>05/2021</c:v>
                </c:pt>
                <c:pt idx="13">
                  <c:v>06/2021</c:v>
                </c:pt>
                <c:pt idx="14">
                  <c:v>07/2021</c:v>
                </c:pt>
                <c:pt idx="15">
                  <c:v>08/2021</c:v>
                </c:pt>
                <c:pt idx="16">
                  <c:v>09/2021</c:v>
                </c:pt>
                <c:pt idx="17">
                  <c:v>10/2021</c:v>
                </c:pt>
                <c:pt idx="18">
                  <c:v>11/2021</c:v>
                </c:pt>
                <c:pt idx="19">
                  <c:v>12/2021</c:v>
                </c:pt>
              </c:strCache>
            </c:strRef>
          </c:cat>
          <c:val>
            <c:numRef>
              <c:f>List1!$B$2:$U$2</c:f>
              <c:numCache>
                <c:formatCode>General</c:formatCode>
                <c:ptCount val="20"/>
                <c:pt idx="0">
                  <c:v>110</c:v>
                </c:pt>
                <c:pt idx="1">
                  <c:v>84</c:v>
                </c:pt>
                <c:pt idx="2">
                  <c:v>112</c:v>
                </c:pt>
                <c:pt idx="3">
                  <c:v>240</c:v>
                </c:pt>
                <c:pt idx="4">
                  <c:v>1126</c:v>
                </c:pt>
                <c:pt idx="5">
                  <c:v>9694</c:v>
                </c:pt>
                <c:pt idx="6">
                  <c:v>8383</c:v>
                </c:pt>
                <c:pt idx="7">
                  <c:v>4588</c:v>
                </c:pt>
                <c:pt idx="8">
                  <c:v>3340</c:v>
                </c:pt>
                <c:pt idx="9">
                  <c:v>1800</c:v>
                </c:pt>
                <c:pt idx="10">
                  <c:v>968</c:v>
                </c:pt>
                <c:pt idx="11">
                  <c:v>135</c:v>
                </c:pt>
                <c:pt idx="12">
                  <c:v>23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93</c:v>
                </c:pt>
                <c:pt idx="17">
                  <c:v>181</c:v>
                </c:pt>
                <c:pt idx="18">
                  <c:v>667</c:v>
                </c:pt>
                <c:pt idx="19">
                  <c:v>4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23-4197-8781-6EB6A238F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151905390317288E-2"/>
          <c:y val="3.5493880780117011E-2"/>
          <c:w val="0.9259736925366634"/>
          <c:h val="0.80491141229830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381</c:f>
              <c:numCache>
                <c:formatCode>m/d/yyyy</c:formatCode>
                <c:ptCount val="380"/>
                <c:pt idx="0">
                  <c:v>44075</c:v>
                </c:pt>
                <c:pt idx="1">
                  <c:v>44078</c:v>
                </c:pt>
                <c:pt idx="2">
                  <c:v>44082</c:v>
                </c:pt>
                <c:pt idx="3">
                  <c:v>44083</c:v>
                </c:pt>
                <c:pt idx="4">
                  <c:v>44084</c:v>
                </c:pt>
                <c:pt idx="5">
                  <c:v>44085</c:v>
                </c:pt>
                <c:pt idx="6">
                  <c:v>44086</c:v>
                </c:pt>
                <c:pt idx="7">
                  <c:v>44087</c:v>
                </c:pt>
                <c:pt idx="8">
                  <c:v>44088</c:v>
                </c:pt>
                <c:pt idx="9">
                  <c:v>44089</c:v>
                </c:pt>
                <c:pt idx="10">
                  <c:v>44090</c:v>
                </c:pt>
                <c:pt idx="11">
                  <c:v>44091</c:v>
                </c:pt>
                <c:pt idx="12">
                  <c:v>44092</c:v>
                </c:pt>
                <c:pt idx="13">
                  <c:v>44093</c:v>
                </c:pt>
                <c:pt idx="14">
                  <c:v>44094</c:v>
                </c:pt>
                <c:pt idx="15">
                  <c:v>44095</c:v>
                </c:pt>
                <c:pt idx="16">
                  <c:v>44096</c:v>
                </c:pt>
                <c:pt idx="17">
                  <c:v>44097</c:v>
                </c:pt>
                <c:pt idx="18">
                  <c:v>44098</c:v>
                </c:pt>
                <c:pt idx="19">
                  <c:v>44099</c:v>
                </c:pt>
                <c:pt idx="20">
                  <c:v>44100</c:v>
                </c:pt>
                <c:pt idx="21">
                  <c:v>44101</c:v>
                </c:pt>
                <c:pt idx="22">
                  <c:v>44102</c:v>
                </c:pt>
                <c:pt idx="23">
                  <c:v>44103</c:v>
                </c:pt>
                <c:pt idx="24">
                  <c:v>44104</c:v>
                </c:pt>
                <c:pt idx="25">
                  <c:v>44105</c:v>
                </c:pt>
                <c:pt idx="26">
                  <c:v>44106</c:v>
                </c:pt>
                <c:pt idx="27">
                  <c:v>44107</c:v>
                </c:pt>
                <c:pt idx="28">
                  <c:v>44108</c:v>
                </c:pt>
                <c:pt idx="29">
                  <c:v>44109</c:v>
                </c:pt>
                <c:pt idx="30">
                  <c:v>44110</c:v>
                </c:pt>
                <c:pt idx="31">
                  <c:v>44111</c:v>
                </c:pt>
                <c:pt idx="32">
                  <c:v>44112</c:v>
                </c:pt>
                <c:pt idx="33">
                  <c:v>44113</c:v>
                </c:pt>
                <c:pt idx="34">
                  <c:v>44114</c:v>
                </c:pt>
                <c:pt idx="35">
                  <c:v>44115</c:v>
                </c:pt>
                <c:pt idx="36">
                  <c:v>44116</c:v>
                </c:pt>
                <c:pt idx="37">
                  <c:v>44117</c:v>
                </c:pt>
                <c:pt idx="38">
                  <c:v>44118</c:v>
                </c:pt>
                <c:pt idx="39">
                  <c:v>44119</c:v>
                </c:pt>
                <c:pt idx="40">
                  <c:v>44120</c:v>
                </c:pt>
                <c:pt idx="41">
                  <c:v>44121</c:v>
                </c:pt>
                <c:pt idx="42">
                  <c:v>44122</c:v>
                </c:pt>
                <c:pt idx="43">
                  <c:v>44123</c:v>
                </c:pt>
                <c:pt idx="44">
                  <c:v>44124</c:v>
                </c:pt>
                <c:pt idx="45">
                  <c:v>44125</c:v>
                </c:pt>
                <c:pt idx="46">
                  <c:v>44126</c:v>
                </c:pt>
                <c:pt idx="47">
                  <c:v>44127</c:v>
                </c:pt>
                <c:pt idx="48">
                  <c:v>44128</c:v>
                </c:pt>
                <c:pt idx="49">
                  <c:v>44129</c:v>
                </c:pt>
                <c:pt idx="50">
                  <c:v>44130</c:v>
                </c:pt>
                <c:pt idx="51">
                  <c:v>44131</c:v>
                </c:pt>
                <c:pt idx="52">
                  <c:v>44132</c:v>
                </c:pt>
                <c:pt idx="53">
                  <c:v>44133</c:v>
                </c:pt>
                <c:pt idx="54">
                  <c:v>44134</c:v>
                </c:pt>
                <c:pt idx="55">
                  <c:v>44135</c:v>
                </c:pt>
                <c:pt idx="56">
                  <c:v>44136</c:v>
                </c:pt>
                <c:pt idx="57">
                  <c:v>44137</c:v>
                </c:pt>
                <c:pt idx="58">
                  <c:v>44138</c:v>
                </c:pt>
                <c:pt idx="59">
                  <c:v>44139</c:v>
                </c:pt>
                <c:pt idx="60">
                  <c:v>44140</c:v>
                </c:pt>
                <c:pt idx="61">
                  <c:v>44141</c:v>
                </c:pt>
                <c:pt idx="62">
                  <c:v>44142</c:v>
                </c:pt>
                <c:pt idx="63">
                  <c:v>44143</c:v>
                </c:pt>
                <c:pt idx="64">
                  <c:v>44144</c:v>
                </c:pt>
                <c:pt idx="65">
                  <c:v>44145</c:v>
                </c:pt>
                <c:pt idx="66">
                  <c:v>44146</c:v>
                </c:pt>
                <c:pt idx="67">
                  <c:v>44147</c:v>
                </c:pt>
                <c:pt idx="68">
                  <c:v>44148</c:v>
                </c:pt>
                <c:pt idx="69">
                  <c:v>44149</c:v>
                </c:pt>
                <c:pt idx="70">
                  <c:v>44150</c:v>
                </c:pt>
                <c:pt idx="71">
                  <c:v>44151</c:v>
                </c:pt>
                <c:pt idx="72">
                  <c:v>44152</c:v>
                </c:pt>
                <c:pt idx="73">
                  <c:v>44153</c:v>
                </c:pt>
                <c:pt idx="74">
                  <c:v>44154</c:v>
                </c:pt>
                <c:pt idx="75">
                  <c:v>44155</c:v>
                </c:pt>
                <c:pt idx="76">
                  <c:v>44156</c:v>
                </c:pt>
                <c:pt idx="77">
                  <c:v>44157</c:v>
                </c:pt>
                <c:pt idx="78">
                  <c:v>44158</c:v>
                </c:pt>
                <c:pt idx="79">
                  <c:v>44159</c:v>
                </c:pt>
                <c:pt idx="80">
                  <c:v>44160</c:v>
                </c:pt>
                <c:pt idx="81">
                  <c:v>44161</c:v>
                </c:pt>
                <c:pt idx="82">
                  <c:v>44162</c:v>
                </c:pt>
                <c:pt idx="83">
                  <c:v>44163</c:v>
                </c:pt>
                <c:pt idx="84">
                  <c:v>44164</c:v>
                </c:pt>
                <c:pt idx="85">
                  <c:v>44165</c:v>
                </c:pt>
                <c:pt idx="86">
                  <c:v>44166</c:v>
                </c:pt>
                <c:pt idx="87">
                  <c:v>44167</c:v>
                </c:pt>
                <c:pt idx="88">
                  <c:v>44168</c:v>
                </c:pt>
                <c:pt idx="89">
                  <c:v>44169</c:v>
                </c:pt>
                <c:pt idx="90">
                  <c:v>44170</c:v>
                </c:pt>
                <c:pt idx="91">
                  <c:v>44171</c:v>
                </c:pt>
                <c:pt idx="92">
                  <c:v>44172</c:v>
                </c:pt>
                <c:pt idx="93">
                  <c:v>44173</c:v>
                </c:pt>
                <c:pt idx="94">
                  <c:v>44174</c:v>
                </c:pt>
                <c:pt idx="95">
                  <c:v>44175</c:v>
                </c:pt>
                <c:pt idx="96">
                  <c:v>44176</c:v>
                </c:pt>
                <c:pt idx="97">
                  <c:v>44177</c:v>
                </c:pt>
                <c:pt idx="98">
                  <c:v>44178</c:v>
                </c:pt>
                <c:pt idx="99">
                  <c:v>44179</c:v>
                </c:pt>
                <c:pt idx="100">
                  <c:v>44180</c:v>
                </c:pt>
                <c:pt idx="101">
                  <c:v>44181</c:v>
                </c:pt>
                <c:pt idx="102">
                  <c:v>44182</c:v>
                </c:pt>
                <c:pt idx="103">
                  <c:v>44183</c:v>
                </c:pt>
                <c:pt idx="104">
                  <c:v>44184</c:v>
                </c:pt>
                <c:pt idx="105">
                  <c:v>44185</c:v>
                </c:pt>
                <c:pt idx="106">
                  <c:v>44186</c:v>
                </c:pt>
                <c:pt idx="107">
                  <c:v>44187</c:v>
                </c:pt>
                <c:pt idx="108">
                  <c:v>44188</c:v>
                </c:pt>
                <c:pt idx="109">
                  <c:v>44189</c:v>
                </c:pt>
                <c:pt idx="110">
                  <c:v>44190</c:v>
                </c:pt>
                <c:pt idx="111">
                  <c:v>44191</c:v>
                </c:pt>
                <c:pt idx="112">
                  <c:v>44192</c:v>
                </c:pt>
                <c:pt idx="113">
                  <c:v>44193</c:v>
                </c:pt>
                <c:pt idx="114">
                  <c:v>44194</c:v>
                </c:pt>
                <c:pt idx="115">
                  <c:v>44195</c:v>
                </c:pt>
                <c:pt idx="116">
                  <c:v>44196</c:v>
                </c:pt>
                <c:pt idx="117">
                  <c:v>44197</c:v>
                </c:pt>
                <c:pt idx="118">
                  <c:v>44198</c:v>
                </c:pt>
                <c:pt idx="119">
                  <c:v>44199</c:v>
                </c:pt>
                <c:pt idx="120">
                  <c:v>44200</c:v>
                </c:pt>
                <c:pt idx="121">
                  <c:v>44201</c:v>
                </c:pt>
                <c:pt idx="122">
                  <c:v>44202</c:v>
                </c:pt>
                <c:pt idx="123">
                  <c:v>44203</c:v>
                </c:pt>
                <c:pt idx="124">
                  <c:v>44204</c:v>
                </c:pt>
                <c:pt idx="125">
                  <c:v>44205</c:v>
                </c:pt>
                <c:pt idx="126">
                  <c:v>44206</c:v>
                </c:pt>
                <c:pt idx="127">
                  <c:v>44207</c:v>
                </c:pt>
                <c:pt idx="128">
                  <c:v>44208</c:v>
                </c:pt>
                <c:pt idx="129">
                  <c:v>44209</c:v>
                </c:pt>
                <c:pt idx="130">
                  <c:v>44210</c:v>
                </c:pt>
                <c:pt idx="131">
                  <c:v>44211</c:v>
                </c:pt>
                <c:pt idx="132">
                  <c:v>44212</c:v>
                </c:pt>
                <c:pt idx="133">
                  <c:v>44213</c:v>
                </c:pt>
                <c:pt idx="134">
                  <c:v>44214</c:v>
                </c:pt>
                <c:pt idx="135">
                  <c:v>44215</c:v>
                </c:pt>
                <c:pt idx="136">
                  <c:v>44216</c:v>
                </c:pt>
                <c:pt idx="137">
                  <c:v>44217</c:v>
                </c:pt>
                <c:pt idx="138">
                  <c:v>44218</c:v>
                </c:pt>
                <c:pt idx="139">
                  <c:v>44219</c:v>
                </c:pt>
                <c:pt idx="140">
                  <c:v>44220</c:v>
                </c:pt>
                <c:pt idx="141">
                  <c:v>44221</c:v>
                </c:pt>
                <c:pt idx="142">
                  <c:v>44222</c:v>
                </c:pt>
                <c:pt idx="143">
                  <c:v>44223</c:v>
                </c:pt>
                <c:pt idx="144">
                  <c:v>44224</c:v>
                </c:pt>
                <c:pt idx="145">
                  <c:v>44225</c:v>
                </c:pt>
                <c:pt idx="146">
                  <c:v>44226</c:v>
                </c:pt>
                <c:pt idx="147">
                  <c:v>44227</c:v>
                </c:pt>
                <c:pt idx="148">
                  <c:v>44228</c:v>
                </c:pt>
                <c:pt idx="149">
                  <c:v>44229</c:v>
                </c:pt>
                <c:pt idx="150">
                  <c:v>44230</c:v>
                </c:pt>
                <c:pt idx="151">
                  <c:v>44231</c:v>
                </c:pt>
                <c:pt idx="152">
                  <c:v>44232</c:v>
                </c:pt>
                <c:pt idx="153">
                  <c:v>44233</c:v>
                </c:pt>
                <c:pt idx="154">
                  <c:v>44234</c:v>
                </c:pt>
                <c:pt idx="155">
                  <c:v>44235</c:v>
                </c:pt>
                <c:pt idx="156">
                  <c:v>44236</c:v>
                </c:pt>
                <c:pt idx="157">
                  <c:v>44237</c:v>
                </c:pt>
                <c:pt idx="158">
                  <c:v>44238</c:v>
                </c:pt>
                <c:pt idx="159">
                  <c:v>44239</c:v>
                </c:pt>
                <c:pt idx="160">
                  <c:v>44240</c:v>
                </c:pt>
                <c:pt idx="161">
                  <c:v>44241</c:v>
                </c:pt>
                <c:pt idx="162">
                  <c:v>44242</c:v>
                </c:pt>
                <c:pt idx="163">
                  <c:v>44243</c:v>
                </c:pt>
                <c:pt idx="164">
                  <c:v>44244</c:v>
                </c:pt>
                <c:pt idx="165">
                  <c:v>44245</c:v>
                </c:pt>
                <c:pt idx="166">
                  <c:v>44246</c:v>
                </c:pt>
                <c:pt idx="167">
                  <c:v>44247</c:v>
                </c:pt>
                <c:pt idx="168">
                  <c:v>44248</c:v>
                </c:pt>
                <c:pt idx="169">
                  <c:v>44249</c:v>
                </c:pt>
                <c:pt idx="170">
                  <c:v>44250</c:v>
                </c:pt>
                <c:pt idx="171">
                  <c:v>44251</c:v>
                </c:pt>
                <c:pt idx="172">
                  <c:v>44252</c:v>
                </c:pt>
                <c:pt idx="173">
                  <c:v>44253</c:v>
                </c:pt>
                <c:pt idx="174">
                  <c:v>44254</c:v>
                </c:pt>
                <c:pt idx="175">
                  <c:v>44255</c:v>
                </c:pt>
                <c:pt idx="176">
                  <c:v>44256</c:v>
                </c:pt>
                <c:pt idx="177">
                  <c:v>44257</c:v>
                </c:pt>
                <c:pt idx="178">
                  <c:v>44258</c:v>
                </c:pt>
                <c:pt idx="179">
                  <c:v>44259</c:v>
                </c:pt>
                <c:pt idx="180">
                  <c:v>44260</c:v>
                </c:pt>
                <c:pt idx="181">
                  <c:v>44261</c:v>
                </c:pt>
                <c:pt idx="182">
                  <c:v>44262</c:v>
                </c:pt>
                <c:pt idx="183">
                  <c:v>44263</c:v>
                </c:pt>
                <c:pt idx="184">
                  <c:v>44264</c:v>
                </c:pt>
                <c:pt idx="185">
                  <c:v>44265</c:v>
                </c:pt>
                <c:pt idx="186">
                  <c:v>44266</c:v>
                </c:pt>
                <c:pt idx="187">
                  <c:v>44267</c:v>
                </c:pt>
                <c:pt idx="188">
                  <c:v>44268</c:v>
                </c:pt>
                <c:pt idx="189">
                  <c:v>44269</c:v>
                </c:pt>
                <c:pt idx="190">
                  <c:v>44270</c:v>
                </c:pt>
                <c:pt idx="191">
                  <c:v>44271</c:v>
                </c:pt>
                <c:pt idx="192">
                  <c:v>44272</c:v>
                </c:pt>
                <c:pt idx="193">
                  <c:v>44273</c:v>
                </c:pt>
                <c:pt idx="194">
                  <c:v>44274</c:v>
                </c:pt>
                <c:pt idx="195">
                  <c:v>44275</c:v>
                </c:pt>
                <c:pt idx="196">
                  <c:v>44276</c:v>
                </c:pt>
                <c:pt idx="197">
                  <c:v>44277</c:v>
                </c:pt>
                <c:pt idx="198">
                  <c:v>44278</c:v>
                </c:pt>
                <c:pt idx="199">
                  <c:v>44279</c:v>
                </c:pt>
                <c:pt idx="200">
                  <c:v>44280</c:v>
                </c:pt>
                <c:pt idx="201">
                  <c:v>44281</c:v>
                </c:pt>
                <c:pt idx="202">
                  <c:v>44282</c:v>
                </c:pt>
                <c:pt idx="203">
                  <c:v>44283</c:v>
                </c:pt>
                <c:pt idx="204">
                  <c:v>44284</c:v>
                </c:pt>
                <c:pt idx="205">
                  <c:v>44285</c:v>
                </c:pt>
                <c:pt idx="206">
                  <c:v>44286</c:v>
                </c:pt>
                <c:pt idx="207">
                  <c:v>44287</c:v>
                </c:pt>
                <c:pt idx="208">
                  <c:v>44288</c:v>
                </c:pt>
                <c:pt idx="209">
                  <c:v>44289</c:v>
                </c:pt>
                <c:pt idx="210">
                  <c:v>44290</c:v>
                </c:pt>
                <c:pt idx="211">
                  <c:v>44291</c:v>
                </c:pt>
                <c:pt idx="212">
                  <c:v>44292</c:v>
                </c:pt>
                <c:pt idx="213">
                  <c:v>44293</c:v>
                </c:pt>
                <c:pt idx="214">
                  <c:v>44294</c:v>
                </c:pt>
                <c:pt idx="215">
                  <c:v>44295</c:v>
                </c:pt>
                <c:pt idx="216">
                  <c:v>44296</c:v>
                </c:pt>
                <c:pt idx="217">
                  <c:v>44297</c:v>
                </c:pt>
                <c:pt idx="218">
                  <c:v>44298</c:v>
                </c:pt>
                <c:pt idx="219">
                  <c:v>44299</c:v>
                </c:pt>
                <c:pt idx="220">
                  <c:v>44300</c:v>
                </c:pt>
                <c:pt idx="221">
                  <c:v>44301</c:v>
                </c:pt>
                <c:pt idx="222">
                  <c:v>44302</c:v>
                </c:pt>
                <c:pt idx="223">
                  <c:v>44303</c:v>
                </c:pt>
                <c:pt idx="224">
                  <c:v>44304</c:v>
                </c:pt>
                <c:pt idx="225">
                  <c:v>44305</c:v>
                </c:pt>
                <c:pt idx="226">
                  <c:v>44306</c:v>
                </c:pt>
                <c:pt idx="227">
                  <c:v>44307</c:v>
                </c:pt>
                <c:pt idx="228">
                  <c:v>44308</c:v>
                </c:pt>
                <c:pt idx="229">
                  <c:v>44309</c:v>
                </c:pt>
                <c:pt idx="230">
                  <c:v>44310</c:v>
                </c:pt>
                <c:pt idx="231">
                  <c:v>44312</c:v>
                </c:pt>
                <c:pt idx="232">
                  <c:v>44313</c:v>
                </c:pt>
                <c:pt idx="233">
                  <c:v>44314</c:v>
                </c:pt>
                <c:pt idx="234">
                  <c:v>44315</c:v>
                </c:pt>
                <c:pt idx="235">
                  <c:v>44316</c:v>
                </c:pt>
                <c:pt idx="236">
                  <c:v>44318</c:v>
                </c:pt>
                <c:pt idx="237">
                  <c:v>44319</c:v>
                </c:pt>
                <c:pt idx="238">
                  <c:v>44320</c:v>
                </c:pt>
                <c:pt idx="239">
                  <c:v>44321</c:v>
                </c:pt>
                <c:pt idx="240">
                  <c:v>44322</c:v>
                </c:pt>
                <c:pt idx="241">
                  <c:v>44323</c:v>
                </c:pt>
                <c:pt idx="242">
                  <c:v>44324</c:v>
                </c:pt>
                <c:pt idx="243">
                  <c:v>44325</c:v>
                </c:pt>
                <c:pt idx="244">
                  <c:v>44326</c:v>
                </c:pt>
                <c:pt idx="245">
                  <c:v>44327</c:v>
                </c:pt>
                <c:pt idx="246">
                  <c:v>44329</c:v>
                </c:pt>
                <c:pt idx="247">
                  <c:v>44330</c:v>
                </c:pt>
                <c:pt idx="248">
                  <c:v>44331</c:v>
                </c:pt>
                <c:pt idx="249">
                  <c:v>44333</c:v>
                </c:pt>
                <c:pt idx="250">
                  <c:v>44334</c:v>
                </c:pt>
                <c:pt idx="251">
                  <c:v>44335</c:v>
                </c:pt>
                <c:pt idx="252">
                  <c:v>44336</c:v>
                </c:pt>
                <c:pt idx="253">
                  <c:v>44340</c:v>
                </c:pt>
                <c:pt idx="254">
                  <c:v>44341</c:v>
                </c:pt>
                <c:pt idx="255">
                  <c:v>44342</c:v>
                </c:pt>
                <c:pt idx="256">
                  <c:v>44343</c:v>
                </c:pt>
                <c:pt idx="257">
                  <c:v>44349</c:v>
                </c:pt>
                <c:pt idx="258">
                  <c:v>44350</c:v>
                </c:pt>
                <c:pt idx="259">
                  <c:v>44358</c:v>
                </c:pt>
                <c:pt idx="260">
                  <c:v>44364</c:v>
                </c:pt>
                <c:pt idx="261">
                  <c:v>44370</c:v>
                </c:pt>
                <c:pt idx="262">
                  <c:v>44371</c:v>
                </c:pt>
                <c:pt idx="263">
                  <c:v>44377</c:v>
                </c:pt>
                <c:pt idx="264">
                  <c:v>44378</c:v>
                </c:pt>
                <c:pt idx="265">
                  <c:v>44381</c:v>
                </c:pt>
                <c:pt idx="266">
                  <c:v>44385</c:v>
                </c:pt>
                <c:pt idx="267">
                  <c:v>44388</c:v>
                </c:pt>
                <c:pt idx="268">
                  <c:v>44398</c:v>
                </c:pt>
                <c:pt idx="269">
                  <c:v>44401</c:v>
                </c:pt>
                <c:pt idx="270">
                  <c:v>44404</c:v>
                </c:pt>
                <c:pt idx="271">
                  <c:v>44405</c:v>
                </c:pt>
                <c:pt idx="272">
                  <c:v>44416</c:v>
                </c:pt>
                <c:pt idx="273">
                  <c:v>44419</c:v>
                </c:pt>
                <c:pt idx="274">
                  <c:v>44424</c:v>
                </c:pt>
                <c:pt idx="275">
                  <c:v>44425</c:v>
                </c:pt>
                <c:pt idx="276">
                  <c:v>44427</c:v>
                </c:pt>
                <c:pt idx="277">
                  <c:v>44431</c:v>
                </c:pt>
                <c:pt idx="278">
                  <c:v>44434</c:v>
                </c:pt>
                <c:pt idx="279">
                  <c:v>44435</c:v>
                </c:pt>
                <c:pt idx="280">
                  <c:v>44436</c:v>
                </c:pt>
                <c:pt idx="281">
                  <c:v>44440</c:v>
                </c:pt>
                <c:pt idx="282">
                  <c:v>44441</c:v>
                </c:pt>
                <c:pt idx="283">
                  <c:v>44442</c:v>
                </c:pt>
                <c:pt idx="284">
                  <c:v>44443</c:v>
                </c:pt>
                <c:pt idx="285">
                  <c:v>44445</c:v>
                </c:pt>
                <c:pt idx="286">
                  <c:v>44446</c:v>
                </c:pt>
                <c:pt idx="287">
                  <c:v>44447</c:v>
                </c:pt>
                <c:pt idx="288">
                  <c:v>44448</c:v>
                </c:pt>
                <c:pt idx="289">
                  <c:v>44451</c:v>
                </c:pt>
                <c:pt idx="290">
                  <c:v>44452</c:v>
                </c:pt>
                <c:pt idx="291">
                  <c:v>44453</c:v>
                </c:pt>
                <c:pt idx="292">
                  <c:v>44457</c:v>
                </c:pt>
                <c:pt idx="293">
                  <c:v>44459</c:v>
                </c:pt>
                <c:pt idx="294">
                  <c:v>44460</c:v>
                </c:pt>
                <c:pt idx="295">
                  <c:v>44461</c:v>
                </c:pt>
                <c:pt idx="296">
                  <c:v>44464</c:v>
                </c:pt>
                <c:pt idx="297">
                  <c:v>44465</c:v>
                </c:pt>
                <c:pt idx="298">
                  <c:v>44466</c:v>
                </c:pt>
                <c:pt idx="299">
                  <c:v>44467</c:v>
                </c:pt>
                <c:pt idx="300">
                  <c:v>44468</c:v>
                </c:pt>
                <c:pt idx="301">
                  <c:v>44469</c:v>
                </c:pt>
                <c:pt idx="302">
                  <c:v>44470</c:v>
                </c:pt>
                <c:pt idx="303">
                  <c:v>44471</c:v>
                </c:pt>
                <c:pt idx="304">
                  <c:v>44472</c:v>
                </c:pt>
                <c:pt idx="305">
                  <c:v>44473</c:v>
                </c:pt>
                <c:pt idx="306">
                  <c:v>44474</c:v>
                </c:pt>
                <c:pt idx="307">
                  <c:v>44475</c:v>
                </c:pt>
                <c:pt idx="308">
                  <c:v>44476</c:v>
                </c:pt>
                <c:pt idx="309">
                  <c:v>44477</c:v>
                </c:pt>
                <c:pt idx="310">
                  <c:v>44478</c:v>
                </c:pt>
                <c:pt idx="311">
                  <c:v>44480</c:v>
                </c:pt>
                <c:pt idx="312">
                  <c:v>44481</c:v>
                </c:pt>
                <c:pt idx="313">
                  <c:v>44482</c:v>
                </c:pt>
                <c:pt idx="314">
                  <c:v>44483</c:v>
                </c:pt>
                <c:pt idx="315">
                  <c:v>44484</c:v>
                </c:pt>
                <c:pt idx="316">
                  <c:v>44485</c:v>
                </c:pt>
                <c:pt idx="317">
                  <c:v>44486</c:v>
                </c:pt>
                <c:pt idx="318">
                  <c:v>44487</c:v>
                </c:pt>
                <c:pt idx="319">
                  <c:v>44488</c:v>
                </c:pt>
                <c:pt idx="320">
                  <c:v>44489</c:v>
                </c:pt>
                <c:pt idx="321">
                  <c:v>44490</c:v>
                </c:pt>
                <c:pt idx="322">
                  <c:v>44491</c:v>
                </c:pt>
                <c:pt idx="323">
                  <c:v>44492</c:v>
                </c:pt>
                <c:pt idx="324">
                  <c:v>44493</c:v>
                </c:pt>
                <c:pt idx="325">
                  <c:v>44494</c:v>
                </c:pt>
                <c:pt idx="326">
                  <c:v>44495</c:v>
                </c:pt>
                <c:pt idx="327">
                  <c:v>44496</c:v>
                </c:pt>
                <c:pt idx="328">
                  <c:v>44497</c:v>
                </c:pt>
                <c:pt idx="329">
                  <c:v>44498</c:v>
                </c:pt>
                <c:pt idx="330">
                  <c:v>44499</c:v>
                </c:pt>
                <c:pt idx="331">
                  <c:v>44500</c:v>
                </c:pt>
                <c:pt idx="332">
                  <c:v>44501</c:v>
                </c:pt>
                <c:pt idx="333">
                  <c:v>44502</c:v>
                </c:pt>
                <c:pt idx="334">
                  <c:v>44503</c:v>
                </c:pt>
                <c:pt idx="335">
                  <c:v>44504</c:v>
                </c:pt>
                <c:pt idx="336">
                  <c:v>44505</c:v>
                </c:pt>
                <c:pt idx="337">
                  <c:v>44506</c:v>
                </c:pt>
                <c:pt idx="338">
                  <c:v>44507</c:v>
                </c:pt>
                <c:pt idx="339">
                  <c:v>44508</c:v>
                </c:pt>
                <c:pt idx="340">
                  <c:v>44509</c:v>
                </c:pt>
                <c:pt idx="341">
                  <c:v>44510</c:v>
                </c:pt>
                <c:pt idx="342">
                  <c:v>44511</c:v>
                </c:pt>
                <c:pt idx="343">
                  <c:v>44512</c:v>
                </c:pt>
                <c:pt idx="344">
                  <c:v>44513</c:v>
                </c:pt>
                <c:pt idx="345">
                  <c:v>44514</c:v>
                </c:pt>
                <c:pt idx="346">
                  <c:v>44515</c:v>
                </c:pt>
                <c:pt idx="347">
                  <c:v>44516</c:v>
                </c:pt>
                <c:pt idx="348">
                  <c:v>44517</c:v>
                </c:pt>
                <c:pt idx="349">
                  <c:v>44518</c:v>
                </c:pt>
                <c:pt idx="350">
                  <c:v>44519</c:v>
                </c:pt>
                <c:pt idx="351">
                  <c:v>44520</c:v>
                </c:pt>
                <c:pt idx="352">
                  <c:v>44521</c:v>
                </c:pt>
                <c:pt idx="353">
                  <c:v>44522</c:v>
                </c:pt>
                <c:pt idx="354">
                  <c:v>44523</c:v>
                </c:pt>
                <c:pt idx="355">
                  <c:v>44524</c:v>
                </c:pt>
                <c:pt idx="356">
                  <c:v>44525</c:v>
                </c:pt>
                <c:pt idx="357">
                  <c:v>44526</c:v>
                </c:pt>
                <c:pt idx="358">
                  <c:v>44527</c:v>
                </c:pt>
                <c:pt idx="359">
                  <c:v>44528</c:v>
                </c:pt>
                <c:pt idx="360">
                  <c:v>44529</c:v>
                </c:pt>
                <c:pt idx="361">
                  <c:v>44530</c:v>
                </c:pt>
                <c:pt idx="362">
                  <c:v>44531</c:v>
                </c:pt>
                <c:pt idx="363">
                  <c:v>44532</c:v>
                </c:pt>
                <c:pt idx="364">
                  <c:v>44533</c:v>
                </c:pt>
                <c:pt idx="365">
                  <c:v>44534</c:v>
                </c:pt>
                <c:pt idx="366">
                  <c:v>44535</c:v>
                </c:pt>
                <c:pt idx="367">
                  <c:v>44536</c:v>
                </c:pt>
                <c:pt idx="368">
                  <c:v>44537</c:v>
                </c:pt>
                <c:pt idx="369">
                  <c:v>44538</c:v>
                </c:pt>
                <c:pt idx="370">
                  <c:v>44539</c:v>
                </c:pt>
                <c:pt idx="371">
                  <c:v>44540</c:v>
                </c:pt>
                <c:pt idx="372">
                  <c:v>44541</c:v>
                </c:pt>
                <c:pt idx="373">
                  <c:v>44542</c:v>
                </c:pt>
                <c:pt idx="374">
                  <c:v>44543</c:v>
                </c:pt>
                <c:pt idx="375">
                  <c:v>44544</c:v>
                </c:pt>
                <c:pt idx="376">
                  <c:v>44545</c:v>
                </c:pt>
                <c:pt idx="377">
                  <c:v>44546</c:v>
                </c:pt>
                <c:pt idx="378">
                  <c:v>44547</c:v>
                </c:pt>
                <c:pt idx="379">
                  <c:v>44548</c:v>
                </c:pt>
              </c:numCache>
            </c:numRef>
          </c:cat>
          <c:val>
            <c:numRef>
              <c:f>Sheet1!$B$2:$B$381</c:f>
              <c:numCache>
                <c:formatCode>General</c:formatCode>
                <c:ptCount val="380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4</c:v>
                </c:pt>
                <c:pt idx="23">
                  <c:v>1</c:v>
                </c:pt>
                <c:pt idx="24">
                  <c:v>8</c:v>
                </c:pt>
                <c:pt idx="25">
                  <c:v>9</c:v>
                </c:pt>
                <c:pt idx="26">
                  <c:v>18</c:v>
                </c:pt>
                <c:pt idx="27">
                  <c:v>9</c:v>
                </c:pt>
                <c:pt idx="28">
                  <c:v>7</c:v>
                </c:pt>
                <c:pt idx="29">
                  <c:v>46</c:v>
                </c:pt>
                <c:pt idx="30">
                  <c:v>15</c:v>
                </c:pt>
                <c:pt idx="31">
                  <c:v>8</c:v>
                </c:pt>
                <c:pt idx="32">
                  <c:v>17</c:v>
                </c:pt>
                <c:pt idx="33">
                  <c:v>28</c:v>
                </c:pt>
                <c:pt idx="34">
                  <c:v>12</c:v>
                </c:pt>
                <c:pt idx="35">
                  <c:v>2</c:v>
                </c:pt>
                <c:pt idx="36">
                  <c:v>28</c:v>
                </c:pt>
                <c:pt idx="37">
                  <c:v>35</c:v>
                </c:pt>
                <c:pt idx="38">
                  <c:v>49</c:v>
                </c:pt>
                <c:pt idx="39">
                  <c:v>32</c:v>
                </c:pt>
                <c:pt idx="40">
                  <c:v>40</c:v>
                </c:pt>
                <c:pt idx="41">
                  <c:v>25</c:v>
                </c:pt>
                <c:pt idx="42">
                  <c:v>16</c:v>
                </c:pt>
                <c:pt idx="43">
                  <c:v>42</c:v>
                </c:pt>
                <c:pt idx="44">
                  <c:v>40</c:v>
                </c:pt>
                <c:pt idx="45">
                  <c:v>53</c:v>
                </c:pt>
                <c:pt idx="46">
                  <c:v>62</c:v>
                </c:pt>
                <c:pt idx="47">
                  <c:v>74</c:v>
                </c:pt>
                <c:pt idx="48">
                  <c:v>45</c:v>
                </c:pt>
                <c:pt idx="49">
                  <c:v>33</c:v>
                </c:pt>
                <c:pt idx="50">
                  <c:v>78</c:v>
                </c:pt>
                <c:pt idx="51">
                  <c:v>69</c:v>
                </c:pt>
                <c:pt idx="52">
                  <c:v>42</c:v>
                </c:pt>
                <c:pt idx="53">
                  <c:v>84</c:v>
                </c:pt>
                <c:pt idx="54">
                  <c:v>94</c:v>
                </c:pt>
                <c:pt idx="55">
                  <c:v>37</c:v>
                </c:pt>
                <c:pt idx="56">
                  <c:v>37</c:v>
                </c:pt>
                <c:pt idx="57">
                  <c:v>62</c:v>
                </c:pt>
                <c:pt idx="58">
                  <c:v>63</c:v>
                </c:pt>
                <c:pt idx="59">
                  <c:v>64</c:v>
                </c:pt>
                <c:pt idx="60">
                  <c:v>77</c:v>
                </c:pt>
                <c:pt idx="61">
                  <c:v>84</c:v>
                </c:pt>
                <c:pt idx="62">
                  <c:v>31</c:v>
                </c:pt>
                <c:pt idx="63">
                  <c:v>16</c:v>
                </c:pt>
                <c:pt idx="64">
                  <c:v>53</c:v>
                </c:pt>
                <c:pt idx="65">
                  <c:v>72</c:v>
                </c:pt>
                <c:pt idx="66">
                  <c:v>117</c:v>
                </c:pt>
                <c:pt idx="67">
                  <c:v>91</c:v>
                </c:pt>
                <c:pt idx="68">
                  <c:v>79</c:v>
                </c:pt>
                <c:pt idx="69">
                  <c:v>42</c:v>
                </c:pt>
                <c:pt idx="70">
                  <c:v>23</c:v>
                </c:pt>
                <c:pt idx="71">
                  <c:v>65</c:v>
                </c:pt>
                <c:pt idx="72">
                  <c:v>26</c:v>
                </c:pt>
                <c:pt idx="73">
                  <c:v>47</c:v>
                </c:pt>
                <c:pt idx="74">
                  <c:v>59</c:v>
                </c:pt>
                <c:pt idx="75">
                  <c:v>49</c:v>
                </c:pt>
                <c:pt idx="76">
                  <c:v>20</c:v>
                </c:pt>
                <c:pt idx="77">
                  <c:v>13</c:v>
                </c:pt>
                <c:pt idx="78">
                  <c:v>67</c:v>
                </c:pt>
                <c:pt idx="79">
                  <c:v>40</c:v>
                </c:pt>
                <c:pt idx="80">
                  <c:v>25</c:v>
                </c:pt>
                <c:pt idx="81">
                  <c:v>34</c:v>
                </c:pt>
                <c:pt idx="82">
                  <c:v>27</c:v>
                </c:pt>
                <c:pt idx="83">
                  <c:v>15</c:v>
                </c:pt>
                <c:pt idx="84">
                  <c:v>13</c:v>
                </c:pt>
                <c:pt idx="85">
                  <c:v>41</c:v>
                </c:pt>
                <c:pt idx="86">
                  <c:v>33</c:v>
                </c:pt>
                <c:pt idx="87">
                  <c:v>27</c:v>
                </c:pt>
                <c:pt idx="88">
                  <c:v>21</c:v>
                </c:pt>
                <c:pt idx="89">
                  <c:v>36</c:v>
                </c:pt>
                <c:pt idx="90">
                  <c:v>19</c:v>
                </c:pt>
                <c:pt idx="91">
                  <c:v>10</c:v>
                </c:pt>
                <c:pt idx="92">
                  <c:v>34</c:v>
                </c:pt>
                <c:pt idx="93">
                  <c:v>28</c:v>
                </c:pt>
                <c:pt idx="94">
                  <c:v>33</c:v>
                </c:pt>
                <c:pt idx="95">
                  <c:v>24</c:v>
                </c:pt>
                <c:pt idx="96">
                  <c:v>33</c:v>
                </c:pt>
                <c:pt idx="97">
                  <c:v>18</c:v>
                </c:pt>
                <c:pt idx="98">
                  <c:v>24</c:v>
                </c:pt>
                <c:pt idx="99">
                  <c:v>36</c:v>
                </c:pt>
                <c:pt idx="100">
                  <c:v>26</c:v>
                </c:pt>
                <c:pt idx="101">
                  <c:v>27</c:v>
                </c:pt>
                <c:pt idx="102">
                  <c:v>14</c:v>
                </c:pt>
                <c:pt idx="103">
                  <c:v>39</c:v>
                </c:pt>
                <c:pt idx="104">
                  <c:v>15</c:v>
                </c:pt>
                <c:pt idx="105">
                  <c:v>6</c:v>
                </c:pt>
                <c:pt idx="106">
                  <c:v>30</c:v>
                </c:pt>
                <c:pt idx="107">
                  <c:v>41</c:v>
                </c:pt>
                <c:pt idx="108">
                  <c:v>20</c:v>
                </c:pt>
                <c:pt idx="109">
                  <c:v>5</c:v>
                </c:pt>
                <c:pt idx="110">
                  <c:v>21</c:v>
                </c:pt>
                <c:pt idx="111">
                  <c:v>17</c:v>
                </c:pt>
                <c:pt idx="112">
                  <c:v>19</c:v>
                </c:pt>
                <c:pt idx="113">
                  <c:v>20</c:v>
                </c:pt>
                <c:pt idx="114">
                  <c:v>44</c:v>
                </c:pt>
                <c:pt idx="115">
                  <c:v>25</c:v>
                </c:pt>
                <c:pt idx="116">
                  <c:v>36</c:v>
                </c:pt>
                <c:pt idx="117">
                  <c:v>19</c:v>
                </c:pt>
                <c:pt idx="118">
                  <c:v>14</c:v>
                </c:pt>
                <c:pt idx="119">
                  <c:v>4</c:v>
                </c:pt>
                <c:pt idx="120">
                  <c:v>32</c:v>
                </c:pt>
                <c:pt idx="121">
                  <c:v>30</c:v>
                </c:pt>
                <c:pt idx="122">
                  <c:v>36</c:v>
                </c:pt>
                <c:pt idx="123">
                  <c:v>40</c:v>
                </c:pt>
                <c:pt idx="124">
                  <c:v>32</c:v>
                </c:pt>
                <c:pt idx="125">
                  <c:v>15</c:v>
                </c:pt>
                <c:pt idx="126">
                  <c:v>8</c:v>
                </c:pt>
                <c:pt idx="127">
                  <c:v>50</c:v>
                </c:pt>
                <c:pt idx="128">
                  <c:v>24</c:v>
                </c:pt>
                <c:pt idx="129">
                  <c:v>22</c:v>
                </c:pt>
                <c:pt idx="130">
                  <c:v>13</c:v>
                </c:pt>
                <c:pt idx="131">
                  <c:v>20</c:v>
                </c:pt>
                <c:pt idx="132">
                  <c:v>12</c:v>
                </c:pt>
                <c:pt idx="133">
                  <c:v>15</c:v>
                </c:pt>
                <c:pt idx="134">
                  <c:v>29</c:v>
                </c:pt>
                <c:pt idx="135">
                  <c:v>23</c:v>
                </c:pt>
                <c:pt idx="136">
                  <c:v>38</c:v>
                </c:pt>
                <c:pt idx="137">
                  <c:v>23</c:v>
                </c:pt>
                <c:pt idx="138">
                  <c:v>21</c:v>
                </c:pt>
                <c:pt idx="139">
                  <c:v>7</c:v>
                </c:pt>
                <c:pt idx="140">
                  <c:v>9</c:v>
                </c:pt>
                <c:pt idx="141">
                  <c:v>21</c:v>
                </c:pt>
                <c:pt idx="142">
                  <c:v>11</c:v>
                </c:pt>
                <c:pt idx="143">
                  <c:v>21</c:v>
                </c:pt>
                <c:pt idx="144">
                  <c:v>11</c:v>
                </c:pt>
                <c:pt idx="145">
                  <c:v>8</c:v>
                </c:pt>
                <c:pt idx="146">
                  <c:v>9</c:v>
                </c:pt>
                <c:pt idx="147">
                  <c:v>5</c:v>
                </c:pt>
                <c:pt idx="148">
                  <c:v>20</c:v>
                </c:pt>
                <c:pt idx="149">
                  <c:v>20</c:v>
                </c:pt>
                <c:pt idx="150">
                  <c:v>13</c:v>
                </c:pt>
                <c:pt idx="151">
                  <c:v>20</c:v>
                </c:pt>
                <c:pt idx="152">
                  <c:v>15</c:v>
                </c:pt>
                <c:pt idx="153">
                  <c:v>5</c:v>
                </c:pt>
                <c:pt idx="154">
                  <c:v>5</c:v>
                </c:pt>
                <c:pt idx="155">
                  <c:v>14</c:v>
                </c:pt>
                <c:pt idx="156">
                  <c:v>15</c:v>
                </c:pt>
                <c:pt idx="157">
                  <c:v>16</c:v>
                </c:pt>
                <c:pt idx="158">
                  <c:v>11</c:v>
                </c:pt>
                <c:pt idx="159">
                  <c:v>13</c:v>
                </c:pt>
                <c:pt idx="160">
                  <c:v>2</c:v>
                </c:pt>
                <c:pt idx="161">
                  <c:v>3</c:v>
                </c:pt>
                <c:pt idx="162">
                  <c:v>8</c:v>
                </c:pt>
                <c:pt idx="163">
                  <c:v>7</c:v>
                </c:pt>
                <c:pt idx="164">
                  <c:v>7</c:v>
                </c:pt>
                <c:pt idx="165">
                  <c:v>9</c:v>
                </c:pt>
                <c:pt idx="166">
                  <c:v>5</c:v>
                </c:pt>
                <c:pt idx="167">
                  <c:v>10</c:v>
                </c:pt>
                <c:pt idx="168">
                  <c:v>3</c:v>
                </c:pt>
                <c:pt idx="169">
                  <c:v>21</c:v>
                </c:pt>
                <c:pt idx="170">
                  <c:v>14</c:v>
                </c:pt>
                <c:pt idx="171">
                  <c:v>7</c:v>
                </c:pt>
                <c:pt idx="172">
                  <c:v>11</c:v>
                </c:pt>
                <c:pt idx="173">
                  <c:v>7</c:v>
                </c:pt>
                <c:pt idx="174">
                  <c:v>3</c:v>
                </c:pt>
                <c:pt idx="175">
                  <c:v>1</c:v>
                </c:pt>
                <c:pt idx="176">
                  <c:v>10</c:v>
                </c:pt>
                <c:pt idx="177">
                  <c:v>7</c:v>
                </c:pt>
                <c:pt idx="178">
                  <c:v>8</c:v>
                </c:pt>
                <c:pt idx="179">
                  <c:v>4</c:v>
                </c:pt>
                <c:pt idx="180">
                  <c:v>7</c:v>
                </c:pt>
                <c:pt idx="181">
                  <c:v>2</c:v>
                </c:pt>
                <c:pt idx="182">
                  <c:v>3</c:v>
                </c:pt>
                <c:pt idx="183">
                  <c:v>6</c:v>
                </c:pt>
                <c:pt idx="184">
                  <c:v>7</c:v>
                </c:pt>
                <c:pt idx="185">
                  <c:v>10</c:v>
                </c:pt>
                <c:pt idx="186">
                  <c:v>3</c:v>
                </c:pt>
                <c:pt idx="187">
                  <c:v>5</c:v>
                </c:pt>
                <c:pt idx="188">
                  <c:v>5</c:v>
                </c:pt>
                <c:pt idx="189">
                  <c:v>3</c:v>
                </c:pt>
                <c:pt idx="190">
                  <c:v>8</c:v>
                </c:pt>
                <c:pt idx="191">
                  <c:v>9</c:v>
                </c:pt>
                <c:pt idx="192">
                  <c:v>1</c:v>
                </c:pt>
                <c:pt idx="193">
                  <c:v>8</c:v>
                </c:pt>
                <c:pt idx="194">
                  <c:v>11</c:v>
                </c:pt>
                <c:pt idx="195">
                  <c:v>3</c:v>
                </c:pt>
                <c:pt idx="196">
                  <c:v>2</c:v>
                </c:pt>
                <c:pt idx="197">
                  <c:v>6</c:v>
                </c:pt>
                <c:pt idx="198">
                  <c:v>6</c:v>
                </c:pt>
                <c:pt idx="199">
                  <c:v>2</c:v>
                </c:pt>
                <c:pt idx="200">
                  <c:v>2</c:v>
                </c:pt>
                <c:pt idx="201">
                  <c:v>1</c:v>
                </c:pt>
                <c:pt idx="202">
                  <c:v>2</c:v>
                </c:pt>
                <c:pt idx="203">
                  <c:v>0</c:v>
                </c:pt>
                <c:pt idx="204">
                  <c:v>2</c:v>
                </c:pt>
                <c:pt idx="205">
                  <c:v>1</c:v>
                </c:pt>
                <c:pt idx="206">
                  <c:v>1</c:v>
                </c:pt>
                <c:pt idx="207">
                  <c:v>2</c:v>
                </c:pt>
                <c:pt idx="208">
                  <c:v>1</c:v>
                </c:pt>
                <c:pt idx="209">
                  <c:v>2</c:v>
                </c:pt>
                <c:pt idx="210">
                  <c:v>2</c:v>
                </c:pt>
                <c:pt idx="211">
                  <c:v>0</c:v>
                </c:pt>
                <c:pt idx="212">
                  <c:v>0</c:v>
                </c:pt>
                <c:pt idx="213">
                  <c:v>5</c:v>
                </c:pt>
                <c:pt idx="214">
                  <c:v>0</c:v>
                </c:pt>
                <c:pt idx="215">
                  <c:v>1</c:v>
                </c:pt>
                <c:pt idx="216">
                  <c:v>0</c:v>
                </c:pt>
                <c:pt idx="217">
                  <c:v>0</c:v>
                </c:pt>
                <c:pt idx="218">
                  <c:v>1</c:v>
                </c:pt>
                <c:pt idx="219">
                  <c:v>3</c:v>
                </c:pt>
                <c:pt idx="220">
                  <c:v>0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1</c:v>
                </c:pt>
                <c:pt idx="226">
                  <c:v>1</c:v>
                </c:pt>
                <c:pt idx="227">
                  <c:v>2</c:v>
                </c:pt>
                <c:pt idx="228">
                  <c:v>2</c:v>
                </c:pt>
                <c:pt idx="229">
                  <c:v>1</c:v>
                </c:pt>
                <c:pt idx="230">
                  <c:v>0</c:v>
                </c:pt>
                <c:pt idx="231">
                  <c:v>0</c:v>
                </c:pt>
                <c:pt idx="232">
                  <c:v>4</c:v>
                </c:pt>
                <c:pt idx="233">
                  <c:v>0</c:v>
                </c:pt>
                <c:pt idx="234">
                  <c:v>1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1</c:v>
                </c:pt>
                <c:pt idx="242">
                  <c:v>0</c:v>
                </c:pt>
                <c:pt idx="243">
                  <c:v>2</c:v>
                </c:pt>
                <c:pt idx="244">
                  <c:v>3</c:v>
                </c:pt>
                <c:pt idx="245">
                  <c:v>1</c:v>
                </c:pt>
                <c:pt idx="246">
                  <c:v>2</c:v>
                </c:pt>
                <c:pt idx="247">
                  <c:v>2</c:v>
                </c:pt>
                <c:pt idx="248">
                  <c:v>1</c:v>
                </c:pt>
                <c:pt idx="249">
                  <c:v>1</c:v>
                </c:pt>
                <c:pt idx="250">
                  <c:v>0</c:v>
                </c:pt>
                <c:pt idx="251">
                  <c:v>2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2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1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1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1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1</c:v>
                </c:pt>
                <c:pt idx="276">
                  <c:v>1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2</c:v>
                </c:pt>
                <c:pt idx="282">
                  <c:v>2</c:v>
                </c:pt>
                <c:pt idx="283">
                  <c:v>1</c:v>
                </c:pt>
                <c:pt idx="284">
                  <c:v>0</c:v>
                </c:pt>
                <c:pt idx="285">
                  <c:v>2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2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1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3</c:v>
                </c:pt>
                <c:pt idx="308">
                  <c:v>1</c:v>
                </c:pt>
                <c:pt idx="309">
                  <c:v>2</c:v>
                </c:pt>
                <c:pt idx="310">
                  <c:v>0</c:v>
                </c:pt>
                <c:pt idx="311">
                  <c:v>1</c:v>
                </c:pt>
                <c:pt idx="312">
                  <c:v>0</c:v>
                </c:pt>
                <c:pt idx="313">
                  <c:v>3</c:v>
                </c:pt>
                <c:pt idx="314">
                  <c:v>1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4</c:v>
                </c:pt>
                <c:pt idx="319">
                  <c:v>0</c:v>
                </c:pt>
                <c:pt idx="320">
                  <c:v>1</c:v>
                </c:pt>
                <c:pt idx="321">
                  <c:v>0</c:v>
                </c:pt>
                <c:pt idx="322">
                  <c:v>2</c:v>
                </c:pt>
                <c:pt idx="323">
                  <c:v>0</c:v>
                </c:pt>
                <c:pt idx="324">
                  <c:v>0</c:v>
                </c:pt>
                <c:pt idx="325">
                  <c:v>4</c:v>
                </c:pt>
                <c:pt idx="326">
                  <c:v>2</c:v>
                </c:pt>
                <c:pt idx="327">
                  <c:v>2</c:v>
                </c:pt>
                <c:pt idx="328">
                  <c:v>0</c:v>
                </c:pt>
                <c:pt idx="329">
                  <c:v>5</c:v>
                </c:pt>
                <c:pt idx="330">
                  <c:v>3</c:v>
                </c:pt>
                <c:pt idx="331">
                  <c:v>2</c:v>
                </c:pt>
                <c:pt idx="332">
                  <c:v>8</c:v>
                </c:pt>
                <c:pt idx="333">
                  <c:v>6</c:v>
                </c:pt>
                <c:pt idx="334">
                  <c:v>5</c:v>
                </c:pt>
                <c:pt idx="335">
                  <c:v>3</c:v>
                </c:pt>
                <c:pt idx="336">
                  <c:v>6</c:v>
                </c:pt>
                <c:pt idx="337">
                  <c:v>1</c:v>
                </c:pt>
                <c:pt idx="338">
                  <c:v>1</c:v>
                </c:pt>
                <c:pt idx="339">
                  <c:v>5</c:v>
                </c:pt>
                <c:pt idx="340">
                  <c:v>7</c:v>
                </c:pt>
                <c:pt idx="341">
                  <c:v>4</c:v>
                </c:pt>
                <c:pt idx="342">
                  <c:v>6</c:v>
                </c:pt>
                <c:pt idx="343">
                  <c:v>2</c:v>
                </c:pt>
                <c:pt idx="344">
                  <c:v>5</c:v>
                </c:pt>
                <c:pt idx="345">
                  <c:v>2</c:v>
                </c:pt>
                <c:pt idx="346">
                  <c:v>7</c:v>
                </c:pt>
                <c:pt idx="347">
                  <c:v>7</c:v>
                </c:pt>
                <c:pt idx="348">
                  <c:v>6</c:v>
                </c:pt>
                <c:pt idx="349">
                  <c:v>12</c:v>
                </c:pt>
                <c:pt idx="350">
                  <c:v>7</c:v>
                </c:pt>
                <c:pt idx="351">
                  <c:v>3</c:v>
                </c:pt>
                <c:pt idx="352">
                  <c:v>3</c:v>
                </c:pt>
                <c:pt idx="353">
                  <c:v>12</c:v>
                </c:pt>
                <c:pt idx="354">
                  <c:v>5</c:v>
                </c:pt>
                <c:pt idx="355">
                  <c:v>15</c:v>
                </c:pt>
                <c:pt idx="356">
                  <c:v>3</c:v>
                </c:pt>
                <c:pt idx="357">
                  <c:v>8</c:v>
                </c:pt>
                <c:pt idx="358">
                  <c:v>0</c:v>
                </c:pt>
                <c:pt idx="359">
                  <c:v>3</c:v>
                </c:pt>
                <c:pt idx="360">
                  <c:v>7</c:v>
                </c:pt>
                <c:pt idx="361">
                  <c:v>3</c:v>
                </c:pt>
                <c:pt idx="362">
                  <c:v>7</c:v>
                </c:pt>
                <c:pt idx="363">
                  <c:v>7</c:v>
                </c:pt>
                <c:pt idx="364">
                  <c:v>4</c:v>
                </c:pt>
                <c:pt idx="365">
                  <c:v>5</c:v>
                </c:pt>
                <c:pt idx="366">
                  <c:v>1</c:v>
                </c:pt>
                <c:pt idx="367">
                  <c:v>8</c:v>
                </c:pt>
                <c:pt idx="368">
                  <c:v>3</c:v>
                </c:pt>
                <c:pt idx="369">
                  <c:v>5</c:v>
                </c:pt>
                <c:pt idx="370">
                  <c:v>5</c:v>
                </c:pt>
                <c:pt idx="371">
                  <c:v>6</c:v>
                </c:pt>
                <c:pt idx="372">
                  <c:v>2</c:v>
                </c:pt>
                <c:pt idx="373">
                  <c:v>1</c:v>
                </c:pt>
                <c:pt idx="374">
                  <c:v>3</c:v>
                </c:pt>
                <c:pt idx="375">
                  <c:v>1</c:v>
                </c:pt>
                <c:pt idx="376">
                  <c:v>2</c:v>
                </c:pt>
                <c:pt idx="377">
                  <c:v>4</c:v>
                </c:pt>
                <c:pt idx="378">
                  <c:v>1</c:v>
                </c:pt>
                <c:pt idx="37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75794495043021E-2"/>
          <c:y val="3.3230967698252123E-2"/>
          <c:w val="0.95352420550495698"/>
          <c:h val="0.9122477943279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381</c:f>
              <c:numCache>
                <c:formatCode>m/d/yyyy</c:formatCode>
                <c:ptCount val="380"/>
                <c:pt idx="0">
                  <c:v>44075</c:v>
                </c:pt>
                <c:pt idx="1">
                  <c:v>44078</c:v>
                </c:pt>
                <c:pt idx="2">
                  <c:v>44082</c:v>
                </c:pt>
                <c:pt idx="3">
                  <c:v>44083</c:v>
                </c:pt>
                <c:pt idx="4">
                  <c:v>44084</c:v>
                </c:pt>
                <c:pt idx="5">
                  <c:v>44085</c:v>
                </c:pt>
                <c:pt idx="6">
                  <c:v>44086</c:v>
                </c:pt>
                <c:pt idx="7">
                  <c:v>44087</c:v>
                </c:pt>
                <c:pt idx="8">
                  <c:v>44088</c:v>
                </c:pt>
                <c:pt idx="9">
                  <c:v>44089</c:v>
                </c:pt>
                <c:pt idx="10">
                  <c:v>44090</c:v>
                </c:pt>
                <c:pt idx="11">
                  <c:v>44091</c:v>
                </c:pt>
                <c:pt idx="12">
                  <c:v>44092</c:v>
                </c:pt>
                <c:pt idx="13">
                  <c:v>44093</c:v>
                </c:pt>
                <c:pt idx="14">
                  <c:v>44094</c:v>
                </c:pt>
                <c:pt idx="15">
                  <c:v>44095</c:v>
                </c:pt>
                <c:pt idx="16">
                  <c:v>44096</c:v>
                </c:pt>
                <c:pt idx="17">
                  <c:v>44097</c:v>
                </c:pt>
                <c:pt idx="18">
                  <c:v>44098</c:v>
                </c:pt>
                <c:pt idx="19">
                  <c:v>44099</c:v>
                </c:pt>
                <c:pt idx="20">
                  <c:v>44100</c:v>
                </c:pt>
                <c:pt idx="21">
                  <c:v>44101</c:v>
                </c:pt>
                <c:pt idx="22">
                  <c:v>44102</c:v>
                </c:pt>
                <c:pt idx="23">
                  <c:v>44103</c:v>
                </c:pt>
                <c:pt idx="24">
                  <c:v>44104</c:v>
                </c:pt>
                <c:pt idx="25">
                  <c:v>44105</c:v>
                </c:pt>
                <c:pt idx="26">
                  <c:v>44106</c:v>
                </c:pt>
                <c:pt idx="27">
                  <c:v>44107</c:v>
                </c:pt>
                <c:pt idx="28">
                  <c:v>44108</c:v>
                </c:pt>
                <c:pt idx="29">
                  <c:v>44109</c:v>
                </c:pt>
                <c:pt idx="30">
                  <c:v>44110</c:v>
                </c:pt>
                <c:pt idx="31">
                  <c:v>44111</c:v>
                </c:pt>
                <c:pt idx="32">
                  <c:v>44112</c:v>
                </c:pt>
                <c:pt idx="33">
                  <c:v>44113</c:v>
                </c:pt>
                <c:pt idx="34">
                  <c:v>44114</c:v>
                </c:pt>
                <c:pt idx="35">
                  <c:v>44115</c:v>
                </c:pt>
                <c:pt idx="36">
                  <c:v>44116</c:v>
                </c:pt>
                <c:pt idx="37">
                  <c:v>44117</c:v>
                </c:pt>
                <c:pt idx="38">
                  <c:v>44118</c:v>
                </c:pt>
                <c:pt idx="39">
                  <c:v>44119</c:v>
                </c:pt>
                <c:pt idx="40">
                  <c:v>44120</c:v>
                </c:pt>
                <c:pt idx="41">
                  <c:v>44121</c:v>
                </c:pt>
                <c:pt idx="42">
                  <c:v>44122</c:v>
                </c:pt>
                <c:pt idx="43">
                  <c:v>44123</c:v>
                </c:pt>
                <c:pt idx="44">
                  <c:v>44124</c:v>
                </c:pt>
                <c:pt idx="45">
                  <c:v>44125</c:v>
                </c:pt>
                <c:pt idx="46">
                  <c:v>44126</c:v>
                </c:pt>
                <c:pt idx="47">
                  <c:v>44127</c:v>
                </c:pt>
                <c:pt idx="48">
                  <c:v>44128</c:v>
                </c:pt>
                <c:pt idx="49">
                  <c:v>44129</c:v>
                </c:pt>
                <c:pt idx="50">
                  <c:v>44130</c:v>
                </c:pt>
                <c:pt idx="51">
                  <c:v>44131</c:v>
                </c:pt>
                <c:pt idx="52">
                  <c:v>44132</c:v>
                </c:pt>
                <c:pt idx="53">
                  <c:v>44133</c:v>
                </c:pt>
                <c:pt idx="54">
                  <c:v>44134</c:v>
                </c:pt>
                <c:pt idx="55">
                  <c:v>44135</c:v>
                </c:pt>
                <c:pt idx="56">
                  <c:v>44136</c:v>
                </c:pt>
                <c:pt idx="57">
                  <c:v>44137</c:v>
                </c:pt>
                <c:pt idx="58">
                  <c:v>44138</c:v>
                </c:pt>
                <c:pt idx="59">
                  <c:v>44139</c:v>
                </c:pt>
                <c:pt idx="60">
                  <c:v>44140</c:v>
                </c:pt>
                <c:pt idx="61">
                  <c:v>44141</c:v>
                </c:pt>
                <c:pt idx="62">
                  <c:v>44142</c:v>
                </c:pt>
                <c:pt idx="63">
                  <c:v>44143</c:v>
                </c:pt>
                <c:pt idx="64">
                  <c:v>44144</c:v>
                </c:pt>
                <c:pt idx="65">
                  <c:v>44145</c:v>
                </c:pt>
                <c:pt idx="66">
                  <c:v>44146</c:v>
                </c:pt>
                <c:pt idx="67">
                  <c:v>44147</c:v>
                </c:pt>
                <c:pt idx="68">
                  <c:v>44148</c:v>
                </c:pt>
                <c:pt idx="69">
                  <c:v>44149</c:v>
                </c:pt>
                <c:pt idx="70">
                  <c:v>44150</c:v>
                </c:pt>
                <c:pt idx="71">
                  <c:v>44151</c:v>
                </c:pt>
                <c:pt idx="72">
                  <c:v>44152</c:v>
                </c:pt>
                <c:pt idx="73">
                  <c:v>44153</c:v>
                </c:pt>
                <c:pt idx="74">
                  <c:v>44154</c:v>
                </c:pt>
                <c:pt idx="75">
                  <c:v>44155</c:v>
                </c:pt>
                <c:pt idx="76">
                  <c:v>44156</c:v>
                </c:pt>
                <c:pt idx="77">
                  <c:v>44157</c:v>
                </c:pt>
                <c:pt idx="78">
                  <c:v>44158</c:v>
                </c:pt>
                <c:pt idx="79">
                  <c:v>44159</c:v>
                </c:pt>
                <c:pt idx="80">
                  <c:v>44160</c:v>
                </c:pt>
                <c:pt idx="81">
                  <c:v>44161</c:v>
                </c:pt>
                <c:pt idx="82">
                  <c:v>44162</c:v>
                </c:pt>
                <c:pt idx="83">
                  <c:v>44163</c:v>
                </c:pt>
                <c:pt idx="84">
                  <c:v>44164</c:v>
                </c:pt>
                <c:pt idx="85">
                  <c:v>44165</c:v>
                </c:pt>
                <c:pt idx="86">
                  <c:v>44166</c:v>
                </c:pt>
                <c:pt idx="87">
                  <c:v>44167</c:v>
                </c:pt>
                <c:pt idx="88">
                  <c:v>44168</c:v>
                </c:pt>
                <c:pt idx="89">
                  <c:v>44169</c:v>
                </c:pt>
                <c:pt idx="90">
                  <c:v>44170</c:v>
                </c:pt>
                <c:pt idx="91">
                  <c:v>44171</c:v>
                </c:pt>
                <c:pt idx="92">
                  <c:v>44172</c:v>
                </c:pt>
                <c:pt idx="93">
                  <c:v>44173</c:v>
                </c:pt>
                <c:pt idx="94">
                  <c:v>44174</c:v>
                </c:pt>
                <c:pt idx="95">
                  <c:v>44175</c:v>
                </c:pt>
                <c:pt idx="96">
                  <c:v>44176</c:v>
                </c:pt>
                <c:pt idx="97">
                  <c:v>44177</c:v>
                </c:pt>
                <c:pt idx="98">
                  <c:v>44178</c:v>
                </c:pt>
                <c:pt idx="99">
                  <c:v>44179</c:v>
                </c:pt>
                <c:pt idx="100">
                  <c:v>44180</c:v>
                </c:pt>
                <c:pt idx="101">
                  <c:v>44181</c:v>
                </c:pt>
                <c:pt idx="102">
                  <c:v>44182</c:v>
                </c:pt>
                <c:pt idx="103">
                  <c:v>44183</c:v>
                </c:pt>
                <c:pt idx="104">
                  <c:v>44184</c:v>
                </c:pt>
                <c:pt idx="105">
                  <c:v>44185</c:v>
                </c:pt>
                <c:pt idx="106">
                  <c:v>44186</c:v>
                </c:pt>
                <c:pt idx="107">
                  <c:v>44187</c:v>
                </c:pt>
                <c:pt idx="108">
                  <c:v>44188</c:v>
                </c:pt>
                <c:pt idx="109">
                  <c:v>44189</c:v>
                </c:pt>
                <c:pt idx="110">
                  <c:v>44190</c:v>
                </c:pt>
                <c:pt idx="111">
                  <c:v>44191</c:v>
                </c:pt>
                <c:pt idx="112">
                  <c:v>44192</c:v>
                </c:pt>
                <c:pt idx="113">
                  <c:v>44193</c:v>
                </c:pt>
                <c:pt idx="114">
                  <c:v>44194</c:v>
                </c:pt>
                <c:pt idx="115">
                  <c:v>44195</c:v>
                </c:pt>
                <c:pt idx="116">
                  <c:v>44196</c:v>
                </c:pt>
                <c:pt idx="117">
                  <c:v>44197</c:v>
                </c:pt>
                <c:pt idx="118">
                  <c:v>44198</c:v>
                </c:pt>
                <c:pt idx="119">
                  <c:v>44199</c:v>
                </c:pt>
                <c:pt idx="120">
                  <c:v>44200</c:v>
                </c:pt>
                <c:pt idx="121">
                  <c:v>44201</c:v>
                </c:pt>
                <c:pt idx="122">
                  <c:v>44202</c:v>
                </c:pt>
                <c:pt idx="123">
                  <c:v>44203</c:v>
                </c:pt>
                <c:pt idx="124">
                  <c:v>44204</c:v>
                </c:pt>
                <c:pt idx="125">
                  <c:v>44205</c:v>
                </c:pt>
                <c:pt idx="126">
                  <c:v>44206</c:v>
                </c:pt>
                <c:pt idx="127">
                  <c:v>44207</c:v>
                </c:pt>
                <c:pt idx="128">
                  <c:v>44208</c:v>
                </c:pt>
                <c:pt idx="129">
                  <c:v>44209</c:v>
                </c:pt>
                <c:pt idx="130">
                  <c:v>44210</c:v>
                </c:pt>
                <c:pt idx="131">
                  <c:v>44211</c:v>
                </c:pt>
                <c:pt idx="132">
                  <c:v>44212</c:v>
                </c:pt>
                <c:pt idx="133">
                  <c:v>44213</c:v>
                </c:pt>
                <c:pt idx="134">
                  <c:v>44214</c:v>
                </c:pt>
                <c:pt idx="135">
                  <c:v>44215</c:v>
                </c:pt>
                <c:pt idx="136">
                  <c:v>44216</c:v>
                </c:pt>
                <c:pt idx="137">
                  <c:v>44217</c:v>
                </c:pt>
                <c:pt idx="138">
                  <c:v>44218</c:v>
                </c:pt>
                <c:pt idx="139">
                  <c:v>44219</c:v>
                </c:pt>
                <c:pt idx="140">
                  <c:v>44220</c:v>
                </c:pt>
                <c:pt idx="141">
                  <c:v>44221</c:v>
                </c:pt>
                <c:pt idx="142">
                  <c:v>44222</c:v>
                </c:pt>
                <c:pt idx="143">
                  <c:v>44223</c:v>
                </c:pt>
                <c:pt idx="144">
                  <c:v>44224</c:v>
                </c:pt>
                <c:pt idx="145">
                  <c:v>44225</c:v>
                </c:pt>
                <c:pt idx="146">
                  <c:v>44226</c:v>
                </c:pt>
                <c:pt idx="147">
                  <c:v>44227</c:v>
                </c:pt>
                <c:pt idx="148">
                  <c:v>44228</c:v>
                </c:pt>
                <c:pt idx="149">
                  <c:v>44229</c:v>
                </c:pt>
                <c:pt idx="150">
                  <c:v>44230</c:v>
                </c:pt>
                <c:pt idx="151">
                  <c:v>44231</c:v>
                </c:pt>
                <c:pt idx="152">
                  <c:v>44232</c:v>
                </c:pt>
                <c:pt idx="153">
                  <c:v>44233</c:v>
                </c:pt>
                <c:pt idx="154">
                  <c:v>44234</c:v>
                </c:pt>
                <c:pt idx="155">
                  <c:v>44235</c:v>
                </c:pt>
                <c:pt idx="156">
                  <c:v>44236</c:v>
                </c:pt>
                <c:pt idx="157">
                  <c:v>44237</c:v>
                </c:pt>
                <c:pt idx="158">
                  <c:v>44238</c:v>
                </c:pt>
                <c:pt idx="159">
                  <c:v>44239</c:v>
                </c:pt>
                <c:pt idx="160">
                  <c:v>44240</c:v>
                </c:pt>
                <c:pt idx="161">
                  <c:v>44241</c:v>
                </c:pt>
                <c:pt idx="162">
                  <c:v>44242</c:v>
                </c:pt>
                <c:pt idx="163">
                  <c:v>44243</c:v>
                </c:pt>
                <c:pt idx="164">
                  <c:v>44244</c:v>
                </c:pt>
                <c:pt idx="165">
                  <c:v>44245</c:v>
                </c:pt>
                <c:pt idx="166">
                  <c:v>44246</c:v>
                </c:pt>
                <c:pt idx="167">
                  <c:v>44247</c:v>
                </c:pt>
                <c:pt idx="168">
                  <c:v>44248</c:v>
                </c:pt>
                <c:pt idx="169">
                  <c:v>44249</c:v>
                </c:pt>
                <c:pt idx="170">
                  <c:v>44250</c:v>
                </c:pt>
                <c:pt idx="171">
                  <c:v>44251</c:v>
                </c:pt>
                <c:pt idx="172">
                  <c:v>44252</c:v>
                </c:pt>
                <c:pt idx="173">
                  <c:v>44253</c:v>
                </c:pt>
                <c:pt idx="174">
                  <c:v>44254</c:v>
                </c:pt>
                <c:pt idx="175">
                  <c:v>44255</c:v>
                </c:pt>
                <c:pt idx="176">
                  <c:v>44256</c:v>
                </c:pt>
                <c:pt idx="177">
                  <c:v>44257</c:v>
                </c:pt>
                <c:pt idx="178">
                  <c:v>44258</c:v>
                </c:pt>
                <c:pt idx="179">
                  <c:v>44259</c:v>
                </c:pt>
                <c:pt idx="180">
                  <c:v>44260</c:v>
                </c:pt>
                <c:pt idx="181">
                  <c:v>44261</c:v>
                </c:pt>
                <c:pt idx="182">
                  <c:v>44262</c:v>
                </c:pt>
                <c:pt idx="183">
                  <c:v>44263</c:v>
                </c:pt>
                <c:pt idx="184">
                  <c:v>44264</c:v>
                </c:pt>
                <c:pt idx="185">
                  <c:v>44265</c:v>
                </c:pt>
                <c:pt idx="186">
                  <c:v>44266</c:v>
                </c:pt>
                <c:pt idx="187">
                  <c:v>44267</c:v>
                </c:pt>
                <c:pt idx="188">
                  <c:v>44268</c:v>
                </c:pt>
                <c:pt idx="189">
                  <c:v>44269</c:v>
                </c:pt>
                <c:pt idx="190">
                  <c:v>44270</c:v>
                </c:pt>
                <c:pt idx="191">
                  <c:v>44271</c:v>
                </c:pt>
                <c:pt idx="192">
                  <c:v>44272</c:v>
                </c:pt>
                <c:pt idx="193">
                  <c:v>44273</c:v>
                </c:pt>
                <c:pt idx="194">
                  <c:v>44274</c:v>
                </c:pt>
                <c:pt idx="195">
                  <c:v>44275</c:v>
                </c:pt>
                <c:pt idx="196">
                  <c:v>44276</c:v>
                </c:pt>
                <c:pt idx="197">
                  <c:v>44277</c:v>
                </c:pt>
                <c:pt idx="198">
                  <c:v>44278</c:v>
                </c:pt>
                <c:pt idx="199">
                  <c:v>44279</c:v>
                </c:pt>
                <c:pt idx="200">
                  <c:v>44280</c:v>
                </c:pt>
                <c:pt idx="201">
                  <c:v>44281</c:v>
                </c:pt>
                <c:pt idx="202">
                  <c:v>44282</c:v>
                </c:pt>
                <c:pt idx="203">
                  <c:v>44283</c:v>
                </c:pt>
                <c:pt idx="204">
                  <c:v>44284</c:v>
                </c:pt>
                <c:pt idx="205">
                  <c:v>44285</c:v>
                </c:pt>
                <c:pt idx="206">
                  <c:v>44286</c:v>
                </c:pt>
                <c:pt idx="207">
                  <c:v>44287</c:v>
                </c:pt>
                <c:pt idx="208">
                  <c:v>44288</c:v>
                </c:pt>
                <c:pt idx="209">
                  <c:v>44289</c:v>
                </c:pt>
                <c:pt idx="210">
                  <c:v>44290</c:v>
                </c:pt>
                <c:pt idx="211">
                  <c:v>44291</c:v>
                </c:pt>
                <c:pt idx="212">
                  <c:v>44292</c:v>
                </c:pt>
                <c:pt idx="213">
                  <c:v>44293</c:v>
                </c:pt>
                <c:pt idx="214">
                  <c:v>44294</c:v>
                </c:pt>
                <c:pt idx="215">
                  <c:v>44295</c:v>
                </c:pt>
                <c:pt idx="216">
                  <c:v>44296</c:v>
                </c:pt>
                <c:pt idx="217">
                  <c:v>44297</c:v>
                </c:pt>
                <c:pt idx="218">
                  <c:v>44298</c:v>
                </c:pt>
                <c:pt idx="219">
                  <c:v>44299</c:v>
                </c:pt>
                <c:pt idx="220">
                  <c:v>44300</c:v>
                </c:pt>
                <c:pt idx="221">
                  <c:v>44301</c:v>
                </c:pt>
                <c:pt idx="222">
                  <c:v>44302</c:v>
                </c:pt>
                <c:pt idx="223">
                  <c:v>44303</c:v>
                </c:pt>
                <c:pt idx="224">
                  <c:v>44304</c:v>
                </c:pt>
                <c:pt idx="225">
                  <c:v>44305</c:v>
                </c:pt>
                <c:pt idx="226">
                  <c:v>44306</c:v>
                </c:pt>
                <c:pt idx="227">
                  <c:v>44307</c:v>
                </c:pt>
                <c:pt idx="228">
                  <c:v>44308</c:v>
                </c:pt>
                <c:pt idx="229">
                  <c:v>44309</c:v>
                </c:pt>
                <c:pt idx="230">
                  <c:v>44310</c:v>
                </c:pt>
                <c:pt idx="231">
                  <c:v>44312</c:v>
                </c:pt>
                <c:pt idx="232">
                  <c:v>44313</c:v>
                </c:pt>
                <c:pt idx="233">
                  <c:v>44314</c:v>
                </c:pt>
                <c:pt idx="234">
                  <c:v>44315</c:v>
                </c:pt>
                <c:pt idx="235">
                  <c:v>44316</c:v>
                </c:pt>
                <c:pt idx="236">
                  <c:v>44318</c:v>
                </c:pt>
                <c:pt idx="237">
                  <c:v>44319</c:v>
                </c:pt>
                <c:pt idx="238">
                  <c:v>44320</c:v>
                </c:pt>
                <c:pt idx="239">
                  <c:v>44321</c:v>
                </c:pt>
                <c:pt idx="240">
                  <c:v>44322</c:v>
                </c:pt>
                <c:pt idx="241">
                  <c:v>44323</c:v>
                </c:pt>
                <c:pt idx="242">
                  <c:v>44324</c:v>
                </c:pt>
                <c:pt idx="243">
                  <c:v>44325</c:v>
                </c:pt>
                <c:pt idx="244">
                  <c:v>44326</c:v>
                </c:pt>
                <c:pt idx="245">
                  <c:v>44327</c:v>
                </c:pt>
                <c:pt idx="246">
                  <c:v>44329</c:v>
                </c:pt>
                <c:pt idx="247">
                  <c:v>44330</c:v>
                </c:pt>
                <c:pt idx="248">
                  <c:v>44331</c:v>
                </c:pt>
                <c:pt idx="249">
                  <c:v>44333</c:v>
                </c:pt>
                <c:pt idx="250">
                  <c:v>44334</c:v>
                </c:pt>
                <c:pt idx="251">
                  <c:v>44335</c:v>
                </c:pt>
                <c:pt idx="252">
                  <c:v>44336</c:v>
                </c:pt>
                <c:pt idx="253">
                  <c:v>44340</c:v>
                </c:pt>
                <c:pt idx="254">
                  <c:v>44341</c:v>
                </c:pt>
                <c:pt idx="255">
                  <c:v>44342</c:v>
                </c:pt>
                <c:pt idx="256">
                  <c:v>44343</c:v>
                </c:pt>
                <c:pt idx="257">
                  <c:v>44349</c:v>
                </c:pt>
                <c:pt idx="258">
                  <c:v>44350</c:v>
                </c:pt>
                <c:pt idx="259">
                  <c:v>44358</c:v>
                </c:pt>
                <c:pt idx="260">
                  <c:v>44364</c:v>
                </c:pt>
                <c:pt idx="261">
                  <c:v>44370</c:v>
                </c:pt>
                <c:pt idx="262">
                  <c:v>44371</c:v>
                </c:pt>
                <c:pt idx="263">
                  <c:v>44377</c:v>
                </c:pt>
                <c:pt idx="264">
                  <c:v>44378</c:v>
                </c:pt>
                <c:pt idx="265">
                  <c:v>44381</c:v>
                </c:pt>
                <c:pt idx="266">
                  <c:v>44385</c:v>
                </c:pt>
                <c:pt idx="267">
                  <c:v>44388</c:v>
                </c:pt>
                <c:pt idx="268">
                  <c:v>44398</c:v>
                </c:pt>
                <c:pt idx="269">
                  <c:v>44401</c:v>
                </c:pt>
                <c:pt idx="270">
                  <c:v>44404</c:v>
                </c:pt>
                <c:pt idx="271">
                  <c:v>44405</c:v>
                </c:pt>
                <c:pt idx="272">
                  <c:v>44416</c:v>
                </c:pt>
                <c:pt idx="273">
                  <c:v>44419</c:v>
                </c:pt>
                <c:pt idx="274">
                  <c:v>44424</c:v>
                </c:pt>
                <c:pt idx="275">
                  <c:v>44425</c:v>
                </c:pt>
                <c:pt idx="276">
                  <c:v>44427</c:v>
                </c:pt>
                <c:pt idx="277">
                  <c:v>44431</c:v>
                </c:pt>
                <c:pt idx="278">
                  <c:v>44434</c:v>
                </c:pt>
                <c:pt idx="279">
                  <c:v>44435</c:v>
                </c:pt>
                <c:pt idx="280">
                  <c:v>44436</c:v>
                </c:pt>
                <c:pt idx="281">
                  <c:v>44440</c:v>
                </c:pt>
                <c:pt idx="282">
                  <c:v>44441</c:v>
                </c:pt>
                <c:pt idx="283">
                  <c:v>44442</c:v>
                </c:pt>
                <c:pt idx="284">
                  <c:v>44443</c:v>
                </c:pt>
                <c:pt idx="285">
                  <c:v>44445</c:v>
                </c:pt>
                <c:pt idx="286">
                  <c:v>44446</c:v>
                </c:pt>
                <c:pt idx="287">
                  <c:v>44447</c:v>
                </c:pt>
                <c:pt idx="288">
                  <c:v>44448</c:v>
                </c:pt>
                <c:pt idx="289">
                  <c:v>44451</c:v>
                </c:pt>
                <c:pt idx="290">
                  <c:v>44452</c:v>
                </c:pt>
                <c:pt idx="291">
                  <c:v>44453</c:v>
                </c:pt>
                <c:pt idx="292">
                  <c:v>44457</c:v>
                </c:pt>
                <c:pt idx="293">
                  <c:v>44459</c:v>
                </c:pt>
                <c:pt idx="294">
                  <c:v>44460</c:v>
                </c:pt>
                <c:pt idx="295">
                  <c:v>44461</c:v>
                </c:pt>
                <c:pt idx="296">
                  <c:v>44464</c:v>
                </c:pt>
                <c:pt idx="297">
                  <c:v>44465</c:v>
                </c:pt>
                <c:pt idx="298">
                  <c:v>44466</c:v>
                </c:pt>
                <c:pt idx="299">
                  <c:v>44467</c:v>
                </c:pt>
                <c:pt idx="300">
                  <c:v>44468</c:v>
                </c:pt>
                <c:pt idx="301">
                  <c:v>44469</c:v>
                </c:pt>
                <c:pt idx="302">
                  <c:v>44470</c:v>
                </c:pt>
                <c:pt idx="303">
                  <c:v>44471</c:v>
                </c:pt>
                <c:pt idx="304">
                  <c:v>44472</c:v>
                </c:pt>
                <c:pt idx="305">
                  <c:v>44473</c:v>
                </c:pt>
                <c:pt idx="306">
                  <c:v>44474</c:v>
                </c:pt>
                <c:pt idx="307">
                  <c:v>44475</c:v>
                </c:pt>
                <c:pt idx="308">
                  <c:v>44476</c:v>
                </c:pt>
                <c:pt idx="309">
                  <c:v>44477</c:v>
                </c:pt>
                <c:pt idx="310">
                  <c:v>44478</c:v>
                </c:pt>
                <c:pt idx="311">
                  <c:v>44480</c:v>
                </c:pt>
                <c:pt idx="312">
                  <c:v>44481</c:v>
                </c:pt>
                <c:pt idx="313">
                  <c:v>44482</c:v>
                </c:pt>
                <c:pt idx="314">
                  <c:v>44483</c:v>
                </c:pt>
                <c:pt idx="315">
                  <c:v>44484</c:v>
                </c:pt>
                <c:pt idx="316">
                  <c:v>44485</c:v>
                </c:pt>
                <c:pt idx="317">
                  <c:v>44486</c:v>
                </c:pt>
                <c:pt idx="318">
                  <c:v>44487</c:v>
                </c:pt>
                <c:pt idx="319">
                  <c:v>44488</c:v>
                </c:pt>
                <c:pt idx="320">
                  <c:v>44489</c:v>
                </c:pt>
                <c:pt idx="321">
                  <c:v>44490</c:v>
                </c:pt>
                <c:pt idx="322">
                  <c:v>44491</c:v>
                </c:pt>
                <c:pt idx="323">
                  <c:v>44492</c:v>
                </c:pt>
                <c:pt idx="324">
                  <c:v>44493</c:v>
                </c:pt>
                <c:pt idx="325">
                  <c:v>44494</c:v>
                </c:pt>
                <c:pt idx="326">
                  <c:v>44495</c:v>
                </c:pt>
                <c:pt idx="327">
                  <c:v>44496</c:v>
                </c:pt>
                <c:pt idx="328">
                  <c:v>44497</c:v>
                </c:pt>
                <c:pt idx="329">
                  <c:v>44498</c:v>
                </c:pt>
                <c:pt idx="330">
                  <c:v>44499</c:v>
                </c:pt>
                <c:pt idx="331">
                  <c:v>44500</c:v>
                </c:pt>
                <c:pt idx="332">
                  <c:v>44501</c:v>
                </c:pt>
                <c:pt idx="333">
                  <c:v>44502</c:v>
                </c:pt>
                <c:pt idx="334">
                  <c:v>44503</c:v>
                </c:pt>
                <c:pt idx="335">
                  <c:v>44504</c:v>
                </c:pt>
                <c:pt idx="336">
                  <c:v>44505</c:v>
                </c:pt>
                <c:pt idx="337">
                  <c:v>44506</c:v>
                </c:pt>
                <c:pt idx="338">
                  <c:v>44507</c:v>
                </c:pt>
                <c:pt idx="339">
                  <c:v>44508</c:v>
                </c:pt>
                <c:pt idx="340">
                  <c:v>44509</c:v>
                </c:pt>
                <c:pt idx="341">
                  <c:v>44510</c:v>
                </c:pt>
                <c:pt idx="342">
                  <c:v>44511</c:v>
                </c:pt>
                <c:pt idx="343">
                  <c:v>44512</c:v>
                </c:pt>
                <c:pt idx="344">
                  <c:v>44513</c:v>
                </c:pt>
                <c:pt idx="345">
                  <c:v>44514</c:v>
                </c:pt>
                <c:pt idx="346">
                  <c:v>44515</c:v>
                </c:pt>
                <c:pt idx="347">
                  <c:v>44516</c:v>
                </c:pt>
                <c:pt idx="348">
                  <c:v>44517</c:v>
                </c:pt>
                <c:pt idx="349">
                  <c:v>44518</c:v>
                </c:pt>
                <c:pt idx="350">
                  <c:v>44519</c:v>
                </c:pt>
                <c:pt idx="351">
                  <c:v>44520</c:v>
                </c:pt>
                <c:pt idx="352">
                  <c:v>44521</c:v>
                </c:pt>
                <c:pt idx="353">
                  <c:v>44522</c:v>
                </c:pt>
                <c:pt idx="354">
                  <c:v>44523</c:v>
                </c:pt>
                <c:pt idx="355">
                  <c:v>44524</c:v>
                </c:pt>
                <c:pt idx="356">
                  <c:v>44525</c:v>
                </c:pt>
                <c:pt idx="357">
                  <c:v>44526</c:v>
                </c:pt>
                <c:pt idx="358">
                  <c:v>44527</c:v>
                </c:pt>
                <c:pt idx="359">
                  <c:v>44528</c:v>
                </c:pt>
                <c:pt idx="360">
                  <c:v>44529</c:v>
                </c:pt>
                <c:pt idx="361">
                  <c:v>44530</c:v>
                </c:pt>
                <c:pt idx="362">
                  <c:v>44531</c:v>
                </c:pt>
                <c:pt idx="363">
                  <c:v>44532</c:v>
                </c:pt>
                <c:pt idx="364">
                  <c:v>44533</c:v>
                </c:pt>
                <c:pt idx="365">
                  <c:v>44534</c:v>
                </c:pt>
                <c:pt idx="366">
                  <c:v>44535</c:v>
                </c:pt>
                <c:pt idx="367">
                  <c:v>44536</c:v>
                </c:pt>
                <c:pt idx="368">
                  <c:v>44537</c:v>
                </c:pt>
                <c:pt idx="369">
                  <c:v>44538</c:v>
                </c:pt>
                <c:pt idx="370">
                  <c:v>44539</c:v>
                </c:pt>
                <c:pt idx="371">
                  <c:v>44540</c:v>
                </c:pt>
                <c:pt idx="372">
                  <c:v>44541</c:v>
                </c:pt>
                <c:pt idx="373">
                  <c:v>44542</c:v>
                </c:pt>
                <c:pt idx="374">
                  <c:v>44543</c:v>
                </c:pt>
                <c:pt idx="375">
                  <c:v>44544</c:v>
                </c:pt>
                <c:pt idx="376">
                  <c:v>44545</c:v>
                </c:pt>
                <c:pt idx="377">
                  <c:v>44546</c:v>
                </c:pt>
                <c:pt idx="378">
                  <c:v>44547</c:v>
                </c:pt>
                <c:pt idx="379">
                  <c:v>44548</c:v>
                </c:pt>
              </c:numCache>
            </c:numRef>
          </c:cat>
          <c:val>
            <c:numRef>
              <c:f>Sheet1!$B$2:$B$381</c:f>
              <c:numCache>
                <c:formatCode>General</c:formatCode>
                <c:ptCount val="38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3</c:v>
                </c:pt>
                <c:pt idx="23">
                  <c:v>1</c:v>
                </c:pt>
                <c:pt idx="24">
                  <c:v>4</c:v>
                </c:pt>
                <c:pt idx="25">
                  <c:v>4</c:v>
                </c:pt>
                <c:pt idx="26">
                  <c:v>7</c:v>
                </c:pt>
                <c:pt idx="27">
                  <c:v>5</c:v>
                </c:pt>
                <c:pt idx="28">
                  <c:v>5</c:v>
                </c:pt>
                <c:pt idx="29">
                  <c:v>23</c:v>
                </c:pt>
                <c:pt idx="30">
                  <c:v>8</c:v>
                </c:pt>
                <c:pt idx="31">
                  <c:v>7</c:v>
                </c:pt>
                <c:pt idx="32">
                  <c:v>2</c:v>
                </c:pt>
                <c:pt idx="33">
                  <c:v>7</c:v>
                </c:pt>
                <c:pt idx="34">
                  <c:v>3</c:v>
                </c:pt>
                <c:pt idx="35">
                  <c:v>0</c:v>
                </c:pt>
                <c:pt idx="36">
                  <c:v>8</c:v>
                </c:pt>
                <c:pt idx="37">
                  <c:v>13</c:v>
                </c:pt>
                <c:pt idx="38">
                  <c:v>13</c:v>
                </c:pt>
                <c:pt idx="39">
                  <c:v>14</c:v>
                </c:pt>
                <c:pt idx="40">
                  <c:v>18</c:v>
                </c:pt>
                <c:pt idx="41">
                  <c:v>9</c:v>
                </c:pt>
                <c:pt idx="42">
                  <c:v>5</c:v>
                </c:pt>
                <c:pt idx="43">
                  <c:v>18</c:v>
                </c:pt>
                <c:pt idx="44">
                  <c:v>14</c:v>
                </c:pt>
                <c:pt idx="45">
                  <c:v>20</c:v>
                </c:pt>
                <c:pt idx="46">
                  <c:v>18</c:v>
                </c:pt>
                <c:pt idx="47">
                  <c:v>28</c:v>
                </c:pt>
                <c:pt idx="48">
                  <c:v>7</c:v>
                </c:pt>
                <c:pt idx="49">
                  <c:v>7</c:v>
                </c:pt>
                <c:pt idx="50">
                  <c:v>28</c:v>
                </c:pt>
                <c:pt idx="51">
                  <c:v>18</c:v>
                </c:pt>
                <c:pt idx="52">
                  <c:v>11</c:v>
                </c:pt>
                <c:pt idx="53">
                  <c:v>20</c:v>
                </c:pt>
                <c:pt idx="54">
                  <c:v>27</c:v>
                </c:pt>
                <c:pt idx="55">
                  <c:v>9</c:v>
                </c:pt>
                <c:pt idx="56">
                  <c:v>14</c:v>
                </c:pt>
                <c:pt idx="57">
                  <c:v>15</c:v>
                </c:pt>
                <c:pt idx="58">
                  <c:v>13</c:v>
                </c:pt>
                <c:pt idx="59">
                  <c:v>21</c:v>
                </c:pt>
                <c:pt idx="60">
                  <c:v>9</c:v>
                </c:pt>
                <c:pt idx="61">
                  <c:v>16</c:v>
                </c:pt>
                <c:pt idx="62">
                  <c:v>10</c:v>
                </c:pt>
                <c:pt idx="63">
                  <c:v>6</c:v>
                </c:pt>
                <c:pt idx="64">
                  <c:v>10</c:v>
                </c:pt>
                <c:pt idx="65">
                  <c:v>16</c:v>
                </c:pt>
                <c:pt idx="66">
                  <c:v>25</c:v>
                </c:pt>
                <c:pt idx="67">
                  <c:v>14</c:v>
                </c:pt>
                <c:pt idx="68">
                  <c:v>19</c:v>
                </c:pt>
                <c:pt idx="69">
                  <c:v>9</c:v>
                </c:pt>
                <c:pt idx="70">
                  <c:v>4</c:v>
                </c:pt>
                <c:pt idx="71">
                  <c:v>18</c:v>
                </c:pt>
                <c:pt idx="72">
                  <c:v>9</c:v>
                </c:pt>
                <c:pt idx="73">
                  <c:v>12</c:v>
                </c:pt>
                <c:pt idx="74">
                  <c:v>12</c:v>
                </c:pt>
                <c:pt idx="75">
                  <c:v>13</c:v>
                </c:pt>
                <c:pt idx="76">
                  <c:v>4</c:v>
                </c:pt>
                <c:pt idx="77">
                  <c:v>3</c:v>
                </c:pt>
                <c:pt idx="78">
                  <c:v>15</c:v>
                </c:pt>
                <c:pt idx="79">
                  <c:v>9</c:v>
                </c:pt>
                <c:pt idx="80">
                  <c:v>7</c:v>
                </c:pt>
                <c:pt idx="81">
                  <c:v>9</c:v>
                </c:pt>
                <c:pt idx="82">
                  <c:v>5</c:v>
                </c:pt>
                <c:pt idx="83">
                  <c:v>1</c:v>
                </c:pt>
                <c:pt idx="84">
                  <c:v>2</c:v>
                </c:pt>
                <c:pt idx="85">
                  <c:v>10</c:v>
                </c:pt>
                <c:pt idx="86">
                  <c:v>9</c:v>
                </c:pt>
                <c:pt idx="87">
                  <c:v>5</c:v>
                </c:pt>
                <c:pt idx="88">
                  <c:v>2</c:v>
                </c:pt>
                <c:pt idx="89">
                  <c:v>8</c:v>
                </c:pt>
                <c:pt idx="90">
                  <c:v>2</c:v>
                </c:pt>
                <c:pt idx="91">
                  <c:v>1</c:v>
                </c:pt>
                <c:pt idx="92">
                  <c:v>3</c:v>
                </c:pt>
                <c:pt idx="93">
                  <c:v>4</c:v>
                </c:pt>
                <c:pt idx="94">
                  <c:v>6</c:v>
                </c:pt>
                <c:pt idx="95">
                  <c:v>5</c:v>
                </c:pt>
                <c:pt idx="96">
                  <c:v>6</c:v>
                </c:pt>
                <c:pt idx="97">
                  <c:v>3</c:v>
                </c:pt>
                <c:pt idx="98">
                  <c:v>3</c:v>
                </c:pt>
                <c:pt idx="99">
                  <c:v>4</c:v>
                </c:pt>
                <c:pt idx="100">
                  <c:v>3</c:v>
                </c:pt>
                <c:pt idx="101">
                  <c:v>6</c:v>
                </c:pt>
                <c:pt idx="102">
                  <c:v>3</c:v>
                </c:pt>
                <c:pt idx="103">
                  <c:v>7</c:v>
                </c:pt>
                <c:pt idx="104">
                  <c:v>6</c:v>
                </c:pt>
                <c:pt idx="105">
                  <c:v>1</c:v>
                </c:pt>
                <c:pt idx="106">
                  <c:v>5</c:v>
                </c:pt>
                <c:pt idx="107">
                  <c:v>10</c:v>
                </c:pt>
                <c:pt idx="108">
                  <c:v>2</c:v>
                </c:pt>
                <c:pt idx="109">
                  <c:v>1</c:v>
                </c:pt>
                <c:pt idx="110">
                  <c:v>6</c:v>
                </c:pt>
                <c:pt idx="111">
                  <c:v>5</c:v>
                </c:pt>
                <c:pt idx="112">
                  <c:v>7</c:v>
                </c:pt>
                <c:pt idx="113">
                  <c:v>4</c:v>
                </c:pt>
                <c:pt idx="114">
                  <c:v>6</c:v>
                </c:pt>
                <c:pt idx="115">
                  <c:v>8</c:v>
                </c:pt>
                <c:pt idx="116">
                  <c:v>7</c:v>
                </c:pt>
                <c:pt idx="117">
                  <c:v>4</c:v>
                </c:pt>
                <c:pt idx="118">
                  <c:v>5</c:v>
                </c:pt>
                <c:pt idx="119">
                  <c:v>1</c:v>
                </c:pt>
                <c:pt idx="120">
                  <c:v>9</c:v>
                </c:pt>
                <c:pt idx="121">
                  <c:v>5</c:v>
                </c:pt>
                <c:pt idx="122">
                  <c:v>4</c:v>
                </c:pt>
                <c:pt idx="123">
                  <c:v>7</c:v>
                </c:pt>
                <c:pt idx="124">
                  <c:v>8</c:v>
                </c:pt>
                <c:pt idx="125">
                  <c:v>3</c:v>
                </c:pt>
                <c:pt idx="126">
                  <c:v>2</c:v>
                </c:pt>
                <c:pt idx="127">
                  <c:v>7</c:v>
                </c:pt>
                <c:pt idx="128">
                  <c:v>4</c:v>
                </c:pt>
                <c:pt idx="129">
                  <c:v>3</c:v>
                </c:pt>
                <c:pt idx="130">
                  <c:v>3</c:v>
                </c:pt>
                <c:pt idx="131">
                  <c:v>12</c:v>
                </c:pt>
                <c:pt idx="132">
                  <c:v>4</c:v>
                </c:pt>
                <c:pt idx="133">
                  <c:v>2</c:v>
                </c:pt>
                <c:pt idx="134">
                  <c:v>5</c:v>
                </c:pt>
                <c:pt idx="135">
                  <c:v>4</c:v>
                </c:pt>
                <c:pt idx="136">
                  <c:v>8</c:v>
                </c:pt>
                <c:pt idx="137">
                  <c:v>5</c:v>
                </c:pt>
                <c:pt idx="138">
                  <c:v>5</c:v>
                </c:pt>
                <c:pt idx="139">
                  <c:v>0</c:v>
                </c:pt>
                <c:pt idx="140">
                  <c:v>3</c:v>
                </c:pt>
                <c:pt idx="141">
                  <c:v>7</c:v>
                </c:pt>
                <c:pt idx="142">
                  <c:v>1</c:v>
                </c:pt>
                <c:pt idx="143">
                  <c:v>2</c:v>
                </c:pt>
                <c:pt idx="144">
                  <c:v>2</c:v>
                </c:pt>
                <c:pt idx="145">
                  <c:v>1</c:v>
                </c:pt>
                <c:pt idx="146">
                  <c:v>2</c:v>
                </c:pt>
                <c:pt idx="147">
                  <c:v>1</c:v>
                </c:pt>
                <c:pt idx="148">
                  <c:v>3</c:v>
                </c:pt>
                <c:pt idx="149">
                  <c:v>3</c:v>
                </c:pt>
                <c:pt idx="150">
                  <c:v>2</c:v>
                </c:pt>
                <c:pt idx="151">
                  <c:v>4</c:v>
                </c:pt>
                <c:pt idx="152">
                  <c:v>2</c:v>
                </c:pt>
                <c:pt idx="153">
                  <c:v>3</c:v>
                </c:pt>
                <c:pt idx="154">
                  <c:v>1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3</c:v>
                </c:pt>
                <c:pt idx="159">
                  <c:v>3</c:v>
                </c:pt>
                <c:pt idx="160">
                  <c:v>0</c:v>
                </c:pt>
                <c:pt idx="161">
                  <c:v>0</c:v>
                </c:pt>
                <c:pt idx="162">
                  <c:v>2</c:v>
                </c:pt>
                <c:pt idx="163">
                  <c:v>2</c:v>
                </c:pt>
                <c:pt idx="164">
                  <c:v>3</c:v>
                </c:pt>
                <c:pt idx="165">
                  <c:v>2</c:v>
                </c:pt>
                <c:pt idx="166">
                  <c:v>0</c:v>
                </c:pt>
                <c:pt idx="167">
                  <c:v>6</c:v>
                </c:pt>
                <c:pt idx="168">
                  <c:v>0</c:v>
                </c:pt>
                <c:pt idx="169">
                  <c:v>1</c:v>
                </c:pt>
                <c:pt idx="170">
                  <c:v>3</c:v>
                </c:pt>
                <c:pt idx="171">
                  <c:v>1</c:v>
                </c:pt>
                <c:pt idx="172">
                  <c:v>0</c:v>
                </c:pt>
                <c:pt idx="173">
                  <c:v>1</c:v>
                </c:pt>
                <c:pt idx="174">
                  <c:v>1</c:v>
                </c:pt>
                <c:pt idx="175">
                  <c:v>0</c:v>
                </c:pt>
                <c:pt idx="176">
                  <c:v>2</c:v>
                </c:pt>
                <c:pt idx="177">
                  <c:v>4</c:v>
                </c:pt>
                <c:pt idx="178">
                  <c:v>1</c:v>
                </c:pt>
                <c:pt idx="179">
                  <c:v>1</c:v>
                </c:pt>
                <c:pt idx="180">
                  <c:v>2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2</c:v>
                </c:pt>
                <c:pt idx="185">
                  <c:v>4</c:v>
                </c:pt>
                <c:pt idx="186">
                  <c:v>1</c:v>
                </c:pt>
                <c:pt idx="187">
                  <c:v>0</c:v>
                </c:pt>
                <c:pt idx="188">
                  <c:v>1</c:v>
                </c:pt>
                <c:pt idx="189">
                  <c:v>1</c:v>
                </c:pt>
                <c:pt idx="190">
                  <c:v>0</c:v>
                </c:pt>
                <c:pt idx="191">
                  <c:v>2</c:v>
                </c:pt>
                <c:pt idx="192">
                  <c:v>0</c:v>
                </c:pt>
                <c:pt idx="193">
                  <c:v>3</c:v>
                </c:pt>
                <c:pt idx="194">
                  <c:v>0</c:v>
                </c:pt>
                <c:pt idx="195">
                  <c:v>1</c:v>
                </c:pt>
                <c:pt idx="196">
                  <c:v>1</c:v>
                </c:pt>
                <c:pt idx="197">
                  <c:v>2</c:v>
                </c:pt>
                <c:pt idx="198">
                  <c:v>1</c:v>
                </c:pt>
                <c:pt idx="199">
                  <c:v>0</c:v>
                </c:pt>
                <c:pt idx="200">
                  <c:v>1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1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1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2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2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1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1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1</c:v>
                </c:pt>
                <c:pt idx="308">
                  <c:v>1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3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1</c:v>
                </c:pt>
                <c:pt idx="323">
                  <c:v>0</c:v>
                </c:pt>
                <c:pt idx="324">
                  <c:v>0</c:v>
                </c:pt>
                <c:pt idx="325">
                  <c:v>1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0</c:v>
                </c:pt>
                <c:pt idx="331">
                  <c:v>1</c:v>
                </c:pt>
                <c:pt idx="332">
                  <c:v>1</c:v>
                </c:pt>
                <c:pt idx="333">
                  <c:v>1</c:v>
                </c:pt>
                <c:pt idx="334">
                  <c:v>1</c:v>
                </c:pt>
                <c:pt idx="335">
                  <c:v>0</c:v>
                </c:pt>
                <c:pt idx="336">
                  <c:v>1</c:v>
                </c:pt>
                <c:pt idx="337">
                  <c:v>0</c:v>
                </c:pt>
                <c:pt idx="338">
                  <c:v>1</c:v>
                </c:pt>
                <c:pt idx="339">
                  <c:v>0</c:v>
                </c:pt>
                <c:pt idx="340">
                  <c:v>3</c:v>
                </c:pt>
                <c:pt idx="341">
                  <c:v>0</c:v>
                </c:pt>
                <c:pt idx="342">
                  <c:v>1</c:v>
                </c:pt>
                <c:pt idx="343">
                  <c:v>0</c:v>
                </c:pt>
                <c:pt idx="344">
                  <c:v>2</c:v>
                </c:pt>
                <c:pt idx="345">
                  <c:v>2</c:v>
                </c:pt>
                <c:pt idx="346">
                  <c:v>1</c:v>
                </c:pt>
                <c:pt idx="347">
                  <c:v>1</c:v>
                </c:pt>
                <c:pt idx="348">
                  <c:v>0</c:v>
                </c:pt>
                <c:pt idx="349">
                  <c:v>6</c:v>
                </c:pt>
                <c:pt idx="350">
                  <c:v>3</c:v>
                </c:pt>
                <c:pt idx="351">
                  <c:v>1</c:v>
                </c:pt>
                <c:pt idx="352">
                  <c:v>2</c:v>
                </c:pt>
                <c:pt idx="353">
                  <c:v>2</c:v>
                </c:pt>
                <c:pt idx="354">
                  <c:v>0</c:v>
                </c:pt>
                <c:pt idx="355">
                  <c:v>5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1</c:v>
                </c:pt>
                <c:pt idx="364">
                  <c:v>0</c:v>
                </c:pt>
                <c:pt idx="365">
                  <c:v>0</c:v>
                </c:pt>
                <c:pt idx="366">
                  <c:v>1</c:v>
                </c:pt>
                <c:pt idx="367">
                  <c:v>1</c:v>
                </c:pt>
                <c:pt idx="368">
                  <c:v>0</c:v>
                </c:pt>
                <c:pt idx="369">
                  <c:v>1</c:v>
                </c:pt>
                <c:pt idx="370">
                  <c:v>2</c:v>
                </c:pt>
                <c:pt idx="371">
                  <c:v>1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4.–
3.5.</c:v>
                </c:pt>
                <c:pt idx="1">
                  <c:v>4.5.–
10.5.</c:v>
                </c:pt>
                <c:pt idx="2">
                  <c:v>11.5.–
17.5.</c:v>
                </c:pt>
                <c:pt idx="3">
                  <c:v>18.5.–
24.5.</c:v>
                </c:pt>
                <c:pt idx="4">
                  <c:v>25.5.–
31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6.–
7.6.</c:v>
                </c:pt>
                <c:pt idx="1">
                  <c:v>8.6.–
14.6.</c:v>
                </c:pt>
                <c:pt idx="2">
                  <c:v>15.6.–
21.6.</c:v>
                </c:pt>
                <c:pt idx="3">
                  <c:v>22.6.–
28.6.</c:v>
                </c:pt>
                <c:pt idx="4">
                  <c:v>29.6.–
5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5</c:v>
                </c:pt>
                <c:pt idx="1">
                  <c:v>0</c:v>
                </c:pt>
                <c:pt idx="2">
                  <c:v>45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6.–
5.7.</c:v>
                </c:pt>
                <c:pt idx="1">
                  <c:v>6.7.–
12.7.</c:v>
                </c:pt>
                <c:pt idx="2">
                  <c:v>13.7.–
19.7.</c:v>
                </c:pt>
                <c:pt idx="3">
                  <c:v>20.7.–
26.7.</c:v>
                </c:pt>
                <c:pt idx="4">
                  <c:v>27.7.–
2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11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7.–
2.8.</c:v>
                </c:pt>
                <c:pt idx="1">
                  <c:v>3.8.–
9.8.</c:v>
                </c:pt>
                <c:pt idx="2">
                  <c:v>10.8.–
16.8.</c:v>
                </c:pt>
                <c:pt idx="3">
                  <c:v>17.8.–
23.8.</c:v>
                </c:pt>
                <c:pt idx="4">
                  <c:v>24.8.–
30.8.</c:v>
                </c:pt>
                <c:pt idx="5">
                  <c:v>31.8.–
6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</c:v>
                </c:pt>
                <c:pt idx="1">
                  <c:v>86</c:v>
                </c:pt>
                <c:pt idx="2">
                  <c:v>40</c:v>
                </c:pt>
                <c:pt idx="3">
                  <c:v>44</c:v>
                </c:pt>
                <c:pt idx="4">
                  <c:v>1</c:v>
                </c:pt>
                <c:pt idx="5">
                  <c:v>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8.–
6.9.</c:v>
                </c:pt>
                <c:pt idx="1">
                  <c:v>7.9.–
13.9.</c:v>
                </c:pt>
                <c:pt idx="2">
                  <c:v>14.9.–
20.9.</c:v>
                </c:pt>
                <c:pt idx="3">
                  <c:v>21.9.–
27.9.</c:v>
                </c:pt>
                <c:pt idx="4">
                  <c:v>28.9.–
4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96</c:v>
                </c:pt>
                <c:pt idx="1">
                  <c:v>138</c:v>
                </c:pt>
                <c:pt idx="2">
                  <c:v>100</c:v>
                </c:pt>
                <c:pt idx="3">
                  <c:v>627</c:v>
                </c:pt>
                <c:pt idx="4">
                  <c:v>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9.–
4.10.</c:v>
                </c:pt>
                <c:pt idx="1">
                  <c:v>5.10.–
11.10.</c:v>
                </c:pt>
                <c:pt idx="2">
                  <c:v>12.10.–
18.10.</c:v>
                </c:pt>
                <c:pt idx="3">
                  <c:v>19.10.–
25.10.</c:v>
                </c:pt>
                <c:pt idx="4">
                  <c:v>26.10.–
1.1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90</c:v>
                </c:pt>
                <c:pt idx="1">
                  <c:v>1325</c:v>
                </c:pt>
                <c:pt idx="2">
                  <c:v>3258</c:v>
                </c:pt>
                <c:pt idx="3">
                  <c:v>2610</c:v>
                </c:pt>
                <c:pt idx="4">
                  <c:v>2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10.–
1.11.</c:v>
                </c:pt>
                <c:pt idx="1">
                  <c:v>2.11.–
8.11.</c:v>
                </c:pt>
                <c:pt idx="2">
                  <c:v>9.11.–
15.11.</c:v>
                </c:pt>
                <c:pt idx="3">
                  <c:v>16.11.–
22.11.</c:v>
                </c:pt>
                <c:pt idx="4">
                  <c:v>23.11.–
29.11.</c:v>
                </c:pt>
                <c:pt idx="5">
                  <c:v>30.11.–
6.1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2702</c:v>
                </c:pt>
                <c:pt idx="1">
                  <c:v>2109</c:v>
                </c:pt>
                <c:pt idx="2">
                  <c:v>3034</c:v>
                </c:pt>
                <c:pt idx="3">
                  <c:v>2017</c:v>
                </c:pt>
                <c:pt idx="4">
                  <c:v>788</c:v>
                </c:pt>
                <c:pt idx="5">
                  <c:v>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11.–
6.12.</c:v>
                </c:pt>
                <c:pt idx="1">
                  <c:v>7.12.–
13.12.</c:v>
                </c:pt>
                <c:pt idx="2">
                  <c:v>14.12.–
20.12.</c:v>
                </c:pt>
                <c:pt idx="3">
                  <c:v>21.12.–
27.12.</c:v>
                </c:pt>
                <c:pt idx="4">
                  <c:v>28.12.–
3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772</c:v>
                </c:pt>
                <c:pt idx="1">
                  <c:v>1444</c:v>
                </c:pt>
                <c:pt idx="2">
                  <c:v>992</c:v>
                </c:pt>
                <c:pt idx="3">
                  <c:v>582</c:v>
                </c:pt>
                <c:pt idx="4">
                  <c:v>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11.–
7.11.</c:v>
                </c:pt>
                <c:pt idx="1">
                  <c:v>8.11.–
14.11.</c:v>
                </c:pt>
                <c:pt idx="2">
                  <c:v>15.11.–
21.11.</c:v>
                </c:pt>
                <c:pt idx="3">
                  <c:v>22.11.–
28.11.</c:v>
                </c:pt>
                <c:pt idx="4">
                  <c:v>29.11.–
5.12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30</c:v>
                </c:pt>
                <c:pt idx="1">
                  <c:v>89</c:v>
                </c:pt>
                <c:pt idx="2">
                  <c:v>114</c:v>
                </c:pt>
                <c:pt idx="3">
                  <c:v>118</c:v>
                </c:pt>
                <c:pt idx="4">
                  <c:v>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12.–
3.1.</c:v>
                </c:pt>
                <c:pt idx="1">
                  <c:v>4.1.–
10.1.</c:v>
                </c:pt>
                <c:pt idx="2">
                  <c:v>11.1.–
17.1.</c:v>
                </c:pt>
                <c:pt idx="3">
                  <c:v>18.1.–
24.1.</c:v>
                </c:pt>
                <c:pt idx="4">
                  <c:v>25.1.–
31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943</c:v>
                </c:pt>
                <c:pt idx="1">
                  <c:v>1069</c:v>
                </c:pt>
                <c:pt idx="2">
                  <c:v>910</c:v>
                </c:pt>
                <c:pt idx="3">
                  <c:v>885</c:v>
                </c:pt>
                <c:pt idx="4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1.2.–
7.2.</c:v>
                </c:pt>
                <c:pt idx="1">
                  <c:v>8.2.–
14.2.</c:v>
                </c:pt>
                <c:pt idx="2">
                  <c:v>15.2.–
21.2.</c:v>
                </c:pt>
                <c:pt idx="3">
                  <c:v>22.2.–
28.2.</c:v>
                </c:pt>
              </c:strCache>
            </c:strRef>
          </c:cat>
          <c:val>
            <c:numRef>
              <c:f>List1!$B$2:$E$2</c:f>
              <c:numCache>
                <c:formatCode>General</c:formatCode>
                <c:ptCount val="4"/>
                <c:pt idx="0">
                  <c:v>650</c:v>
                </c:pt>
                <c:pt idx="1">
                  <c:v>590</c:v>
                </c:pt>
                <c:pt idx="2">
                  <c:v>204</c:v>
                </c:pt>
                <c:pt idx="3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3.–
7.3.</c:v>
                </c:pt>
                <c:pt idx="1">
                  <c:v>8.3.–
14.3.</c:v>
                </c:pt>
                <c:pt idx="2">
                  <c:v>15.3.–
21.3.</c:v>
                </c:pt>
                <c:pt idx="3">
                  <c:v>22.3.–
28.3.</c:v>
                </c:pt>
                <c:pt idx="4">
                  <c:v>29.3.–
4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43</c:v>
                </c:pt>
                <c:pt idx="1">
                  <c:v>223</c:v>
                </c:pt>
                <c:pt idx="2">
                  <c:v>295</c:v>
                </c:pt>
                <c:pt idx="3">
                  <c:v>192</c:v>
                </c:pt>
                <c:pt idx="4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3.–
4.4.</c:v>
                </c:pt>
                <c:pt idx="1">
                  <c:v>5.4.–
11.4.</c:v>
                </c:pt>
                <c:pt idx="2">
                  <c:v>12.4.–
18.4.</c:v>
                </c:pt>
                <c:pt idx="3">
                  <c:v>19.4.–
25.4.</c:v>
                </c:pt>
                <c:pt idx="4">
                  <c:v>26.4.–
2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22</c:v>
                </c:pt>
                <c:pt idx="1">
                  <c:v>72</c:v>
                </c:pt>
                <c:pt idx="2">
                  <c:v>32</c:v>
                </c:pt>
                <c:pt idx="3">
                  <c:v>16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4.–
2.5.</c:v>
                </c:pt>
                <c:pt idx="1">
                  <c:v>3.5.–
9.5.</c:v>
                </c:pt>
                <c:pt idx="2">
                  <c:v>10.5.–
16.5.</c:v>
                </c:pt>
                <c:pt idx="3">
                  <c:v>17.5.–
23.5.</c:v>
                </c:pt>
                <c:pt idx="4">
                  <c:v>24.5.–
30.5.</c:v>
                </c:pt>
                <c:pt idx="5">
                  <c:v>31.5.–
6.6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</c:v>
                </c:pt>
                <c:pt idx="1">
                  <c:v>0</c:v>
                </c:pt>
                <c:pt idx="2">
                  <c:v>14</c:v>
                </c:pt>
                <c:pt idx="3">
                  <c:v>9</c:v>
                </c:pt>
                <c:pt idx="4">
                  <c:v>0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5.–
6.6.</c:v>
                </c:pt>
                <c:pt idx="1">
                  <c:v>7.6.–
13.6.</c:v>
                </c:pt>
                <c:pt idx="2">
                  <c:v>14.6.–
20.6.</c:v>
                </c:pt>
                <c:pt idx="3">
                  <c:v>21.6.–
27.6.</c:v>
                </c:pt>
                <c:pt idx="4">
                  <c:v>28.6.–
4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6.–
4.7.</c:v>
                </c:pt>
                <c:pt idx="1">
                  <c:v>5.7.–
11.7.</c:v>
                </c:pt>
                <c:pt idx="2">
                  <c:v>12.7.–
18.7.</c:v>
                </c:pt>
                <c:pt idx="3">
                  <c:v>19.7.–
25.7.</c:v>
                </c:pt>
                <c:pt idx="4">
                  <c:v>26.7.–
1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</c:v>
                </c:pt>
                <c:pt idx="3">
                  <c:v>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7.–
1.8.</c:v>
                </c:pt>
                <c:pt idx="1">
                  <c:v>2.8.–
8.8.</c:v>
                </c:pt>
                <c:pt idx="2">
                  <c:v>9.8.–
15.8.</c:v>
                </c:pt>
                <c:pt idx="3">
                  <c:v>16.8.–
22.8.</c:v>
                </c:pt>
                <c:pt idx="4">
                  <c:v>23.8.–
29.8.</c:v>
                </c:pt>
                <c:pt idx="5">
                  <c:v>30.8.–
5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0</c:v>
                </c:pt>
                <c:pt idx="5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8.–
5.9.</c:v>
                </c:pt>
                <c:pt idx="1">
                  <c:v>6.9.–
12.9.</c:v>
                </c:pt>
                <c:pt idx="2">
                  <c:v>13.9.–
19.9.</c:v>
                </c:pt>
                <c:pt idx="3">
                  <c:v>20.9.–
26.9.</c:v>
                </c:pt>
                <c:pt idx="4">
                  <c:v>27.9.–
3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8</c:v>
                </c:pt>
                <c:pt idx="1">
                  <c:v>0</c:v>
                </c:pt>
                <c:pt idx="2">
                  <c:v>6</c:v>
                </c:pt>
                <c:pt idx="3">
                  <c:v>14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9.–
3.10.</c:v>
                </c:pt>
                <c:pt idx="1">
                  <c:v>4.10.–
10.10.</c:v>
                </c:pt>
                <c:pt idx="2">
                  <c:v>11.10.–
17.10.</c:v>
                </c:pt>
                <c:pt idx="3">
                  <c:v>18.10.–
24.10.</c:v>
                </c:pt>
                <c:pt idx="4">
                  <c:v>25.10.–
31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6</c:v>
                </c:pt>
                <c:pt idx="1">
                  <c:v>30</c:v>
                </c:pt>
                <c:pt idx="2">
                  <c:v>58</c:v>
                </c:pt>
                <c:pt idx="3">
                  <c:v>28</c:v>
                </c:pt>
                <c:pt idx="4">
                  <c:v>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11.–
5.12.</c:v>
                </c:pt>
                <c:pt idx="1">
                  <c:v>6.12.–
12.12.</c:v>
                </c:pt>
                <c:pt idx="2">
                  <c:v>13.12.–
19.12.</c:v>
                </c:pt>
                <c:pt idx="3">
                  <c:v>20.12.–
26.12.</c:v>
                </c:pt>
                <c:pt idx="4">
                  <c:v>27.12.–
2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04</c:v>
                </c:pt>
                <c:pt idx="1">
                  <c:v>232</c:v>
                </c:pt>
                <c:pt idx="2">
                  <c:v>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  <a:r>
              <a:rPr lang="cs-CZ" baseline="0" dirty="0"/>
              <a:t> a pracovníci</a:t>
            </a:r>
            <a:endParaRPr lang="cs-CZ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DD-43EC-ACB6-2CFB565CAD6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DD-43EC-ACB6-2CFB565CAD69}"/>
              </c:ext>
            </c:extLst>
          </c:dPt>
          <c:dLbls>
            <c:dLbl>
              <c:idx val="0"/>
              <c:layout>
                <c:manualLayout>
                  <c:x val="3.5487344412856947E-2"/>
                  <c:y val="-5.32301757302556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DD-43EC-ACB6-2CFB565CAD69}"/>
                </c:ext>
              </c:extLst>
            </c:dLbl>
            <c:dLbl>
              <c:idx val="1"/>
              <c:layout>
                <c:manualLayout>
                  <c:x val="-3.4963343241499231E-2"/>
                  <c:y val="4.311518910451101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DD-43EC-ACB6-2CFB565CAD69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Zadávají do Sociálního mdulu ISIN</c:v>
                </c:pt>
                <c:pt idx="1">
                  <c:v>Nezadávají</c:v>
                </c:pt>
              </c:strCache>
            </c:strRef>
          </c:cat>
          <c:val>
            <c:numRef>
              <c:f>List1!$B$2:$B$3</c:f>
              <c:numCache>
                <c:formatCode>0.00%</c:formatCode>
                <c:ptCount val="2"/>
                <c:pt idx="0">
                  <c:v>0.81780126802944675</c:v>
                </c:pt>
                <c:pt idx="1">
                  <c:v>0.18219873197055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DD-43EC-ACB6-2CFB565CA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C4E-4B6D-BC39-F29FC08BBEF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4E-4B6D-BC39-F29FC08BBEF3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C4E-4B6D-BC39-F29FC08BBEF3}"/>
                </c:ext>
              </c:extLst>
            </c:dLbl>
            <c:dLbl>
              <c:idx val="1"/>
              <c:layout>
                <c:manualLayout>
                  <c:x val="3.6242943383260673E-2"/>
                  <c:y val="1.8940205351414698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C4E-4B6D-BC39-F29FC08BBE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77100000000000002</c:v>
                </c:pt>
                <c:pt idx="1">
                  <c:v>0.229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E-4B6D-BC39-F29FC08BBEF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7D-4055-8756-BCAC7661DC4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7D-4055-8756-BCAC7661DC44}"/>
              </c:ext>
            </c:extLst>
          </c:dPt>
          <c:dLbls>
            <c:dLbl>
              <c:idx val="0"/>
              <c:layout>
                <c:manualLayout>
                  <c:x val="-0.29351597816452135"/>
                  <c:y val="-4.63981630761377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C7D-4055-8756-BCAC7661DC44}"/>
                </c:ext>
              </c:extLst>
            </c:dLbl>
            <c:dLbl>
              <c:idx val="1"/>
              <c:layout>
                <c:manualLayout>
                  <c:x val="7.1509083454187044E-4"/>
                  <c:y val="-3.774230553784679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C7D-4055-8756-BCAC7661DC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63500000000000001</c:v>
                </c:pt>
                <c:pt idx="1">
                  <c:v>0.36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7D-4055-8756-BCAC7661DC4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22-41E2-BAC0-9FFA33A423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22-41E2-BAC0-9FFA33A42325}"/>
              </c:ext>
            </c:extLst>
          </c:dPt>
          <c:dLbls>
            <c:dLbl>
              <c:idx val="0"/>
              <c:layout>
                <c:manualLayout>
                  <c:x val="-0.31965023312475666"/>
                  <c:y val="-0.1619794802208058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E22-41E2-BAC0-9FFA33A42325}"/>
                </c:ext>
              </c:extLst>
            </c:dLbl>
            <c:dLbl>
              <c:idx val="1"/>
              <c:layout>
                <c:manualLayout>
                  <c:x val="4.3491474984860841E-2"/>
                  <c:y val="5.1655105503858271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E22-41E2-BAC0-9FFA33A423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70799999999999996</c:v>
                </c:pt>
                <c:pt idx="1">
                  <c:v>0.291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2-41E2-BAC0-9FFA33A423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A8-4DEA-901C-9B274B605125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6A8-4DEA-901C-9B274B605125}"/>
              </c:ext>
            </c:extLst>
          </c:dPt>
          <c:dLbls>
            <c:dLbl>
              <c:idx val="0"/>
              <c:layout>
                <c:manualLayout>
                  <c:x val="-0.17591183084346251"/>
                  <c:y val="-0.2717817315082407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6A8-4DEA-901C-9B274B605125}"/>
                </c:ext>
              </c:extLst>
            </c:dLbl>
            <c:dLbl>
              <c:idx val="1"/>
              <c:layout>
                <c:manualLayout>
                  <c:x val="2.3175630939048023E-2"/>
                  <c:y val="4.78356488275549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6A8-4DEA-901C-9B274B605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99878745886021136</c:v>
                </c:pt>
                <c:pt idx="1">
                  <c:v>1.212541139788671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A8-4DEA-901C-9B274B6051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0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0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22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chart" Target="../charts/chart5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chart" Target="../charts/chart8.xml"/><Relationship Id="rId5" Type="http://schemas.openxmlformats.org/officeDocument/2006/relationships/tags" Target="../tags/tag14.xml"/><Relationship Id="rId10" Type="http://schemas.openxmlformats.org/officeDocument/2006/relationships/chart" Target="../charts/chart7.xml"/><Relationship Id="rId4" Type="http://schemas.openxmlformats.org/officeDocument/2006/relationships/tags" Target="../tags/tag13.xml"/><Relationship Id="rId9" Type="http://schemas.openxmlformats.org/officeDocument/2006/relationships/chart" Target="../charts/char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chart" Target="../charts/chart1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chart" Target="../charts/chart10.xml"/><Relationship Id="rId5" Type="http://schemas.openxmlformats.org/officeDocument/2006/relationships/tags" Target="../tags/tag21.xml"/><Relationship Id="rId10" Type="http://schemas.openxmlformats.org/officeDocument/2006/relationships/chart" Target="../charts/chart9.xml"/><Relationship Id="rId4" Type="http://schemas.openxmlformats.org/officeDocument/2006/relationships/tags" Target="../tags/tag20.xml"/><Relationship Id="rId9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chart" Target="../charts/chart15.xml"/><Relationship Id="rId5" Type="http://schemas.openxmlformats.org/officeDocument/2006/relationships/chart" Target="../charts/chart14.xml"/><Relationship Id="rId4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chart" Target="../charts/chart1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128" y="3761489"/>
            <a:ext cx="12025744" cy="2112838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Ohniska nákazy a individuální přehledy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o nákazách v zařízeních sociálních služeb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Aktualizace k 19.12. 2021</a:t>
            </a:r>
          </a:p>
        </p:txBody>
      </p:sp>
    </p:spTree>
    <p:extLst>
      <p:ext uri="{BB962C8B-B14F-4D97-AF65-F5344CB8AC3E}">
        <p14:creationId xmlns:p14="http://schemas.microsoft.com/office/powerpoint/2010/main" val="3454604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2. – 19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9. 12. 2021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0172851"/>
              </p:ext>
            </p:extLst>
          </p:nvPr>
        </p:nvGraphicFramePr>
        <p:xfrm>
          <a:off x="1372685" y="1009673"/>
          <a:ext cx="9684753" cy="550317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915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EIMER HOME Ostrov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4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bré vůle Žáry, M.Albrechtice, Žáry 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Pouch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kromé sen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nna Český Br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H Nemocnice Vi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0454856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hoda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76891396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VATAVA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4100000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Dač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7637571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mácí péče Samopš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59814256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Domov Barevný svět, Petřk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98455694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4991695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00947385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ROŽNOV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57274593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18638055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 DPS Záku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1614548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Pampeliš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31475919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Sněžen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9216078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polek Klidné stáří, Březová 372/83, Děčín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5120583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5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66555709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 srdci klíč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15689880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Karla Boromejského, K Šancím 50, Praha 6 Ře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953702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orní Bran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05700556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pečovatelský dům U Jakuba II, Červený Koste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00310336"/>
                  </a:ext>
                </a:extLst>
              </a:tr>
              <a:tr h="18324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orav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04353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075944" y="3790246"/>
            <a:ext cx="9869424" cy="1564690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C00000"/>
                </a:solidFill>
              </a:rPr>
              <a:t>Nákaza COVID-19 v zařízeních </a:t>
            </a:r>
          </a:p>
          <a:p>
            <a:r>
              <a:rPr lang="cs-CZ" sz="3600" b="1" dirty="0">
                <a:solidFill>
                  <a:srgbClr val="C00000"/>
                </a:solidFill>
              </a:rPr>
              <a:t>sociálních služeb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3608199" y="5354936"/>
            <a:ext cx="4804913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ě hlášené případy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583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>
            <p:custDataLst>
              <p:tags r:id="rId1"/>
            </p:custDataLst>
          </p:nvPr>
        </p:nvSpPr>
        <p:spPr>
          <a:xfrm>
            <a:off x="432488" y="433665"/>
            <a:ext cx="1132702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ášení šíření nákazy v pobytových sociálních službách je ze strany poskytovatelů reprezentativní, celý systém dosahuje více než 81% pokrytí tohoto segmentu péče. Za celé období sledování od podzimu 2020 bylo registrováno přes 24 500 nakažených klientů a více než 17 500 nakažených pracovníků. Hlášení o úmrtích COVID pozitivních klientů přesáhlo 3 400, pracovníků zemřelo 21.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548312" y="2506017"/>
            <a:ext cx="1095375" cy="1114425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>
            <p:custDataLst>
              <p:tags r:id="rId2"/>
            </p:custDataLst>
          </p:nvPr>
        </p:nvSpPr>
        <p:spPr>
          <a:xfrm>
            <a:off x="128385" y="3753258"/>
            <a:ext cx="1193523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istopadu je z těchto individuálních hlášení patrný nárůst počtu nakažených ve srovnání s říjnem 2021. Tato data tedy nezávisle potvrzují nálezy zjištěné epidemiologickými šetřeními ze strany KHS. Za měsíc listopad bylo nahlášeno 933 nákaz pracovníků a 809 nákaz klientů pobytových sociálních služeb. Počet hlášených úmrtí klientů dosáhnul v listopadu hodnoty 112. V prosinci bylo k datu 19.12. nahlášeno 465 nákaz u personálu a 324 nákaz u klientů; k danému datu bylo nahlášeno 48 úmrtí u klientů. Stále se tedy jedná o počty nákaz významně nižší než v zimních až jarních měsících 2021. Počty nákaz s těžkým průběhem jsou velmi nízké – i zde se promítá významný ochranný efekt vakcinace.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22241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4046FEE0-D8D1-4831-AB60-A1F7DA460B1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93976" y="3337044"/>
          <a:ext cx="8649221" cy="320230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391567">
                  <a:extLst>
                    <a:ext uri="{9D8B030D-6E8A-4147-A177-3AD203B41FA5}">
                      <a16:colId xmlns:a16="http://schemas.microsoft.com/office/drawing/2014/main" val="2551148758"/>
                    </a:ext>
                  </a:extLst>
                </a:gridCol>
                <a:gridCol w="1256029">
                  <a:extLst>
                    <a:ext uri="{9D8B030D-6E8A-4147-A177-3AD203B41FA5}">
                      <a16:colId xmlns:a16="http://schemas.microsoft.com/office/drawing/2014/main" val="2213013832"/>
                    </a:ext>
                  </a:extLst>
                </a:gridCol>
                <a:gridCol w="1611850">
                  <a:extLst>
                    <a:ext uri="{9D8B030D-6E8A-4147-A177-3AD203B41FA5}">
                      <a16:colId xmlns:a16="http://schemas.microsoft.com/office/drawing/2014/main" val="4088924505"/>
                    </a:ext>
                  </a:extLst>
                </a:gridCol>
                <a:gridCol w="1343884">
                  <a:extLst>
                    <a:ext uri="{9D8B030D-6E8A-4147-A177-3AD203B41FA5}">
                      <a16:colId xmlns:a16="http://schemas.microsoft.com/office/drawing/2014/main" val="607463107"/>
                    </a:ext>
                  </a:extLst>
                </a:gridCol>
                <a:gridCol w="2045891">
                  <a:extLst>
                    <a:ext uri="{9D8B030D-6E8A-4147-A177-3AD203B41FA5}">
                      <a16:colId xmlns:a16="http://schemas.microsoft.com/office/drawing/2014/main" val="1349585136"/>
                    </a:ext>
                  </a:extLst>
                </a:gridCol>
              </a:tblGrid>
              <a:tr h="20544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Zařízení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u="none" strike="noStrike" dirty="0">
                          <a:effectLst/>
                        </a:rPr>
                        <a:t>Zadávání do ISIN: pokrytí v % z hlediska osob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96431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14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33389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27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24766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7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393320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0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751462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8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154115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597231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19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90187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6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7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938399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072717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6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335145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6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279565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9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83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40672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7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993068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9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17%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413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0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547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575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78%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0797941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4078224" y="1341581"/>
            <a:ext cx="1280160" cy="8503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FB02E70-00BE-4217-BFFA-D3CA15770A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4696" y="907544"/>
            <a:ext cx="366184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24.1.2020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l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báz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PS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den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 438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s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7 547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ien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102 575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k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Tyt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daj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jso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u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n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. Z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hot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á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álníh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SIN 1724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Z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edisk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kryt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81,8%												</a:t>
            </a:r>
          </a:p>
        </p:txBody>
      </p:sp>
      <p:graphicFrame>
        <p:nvGraphicFramePr>
          <p:cNvPr id="28" name="Graf 27">
            <a:extLst>
              <a:ext uri="{FF2B5EF4-FFF2-40B4-BE49-F238E27FC236}">
                <a16:creationId xmlns:a16="http://schemas.microsoft.com/office/drawing/2014/main" id="{070C962C-17CB-4943-9A26-6B0649A6731C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192046" y="713780"/>
          <a:ext cx="3858770" cy="234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AE754366-DA2D-456F-993B-3DC23336EE76}"/>
              </a:ext>
            </a:extLst>
          </p:cNvPr>
          <p:cNvSpPr/>
          <p:nvPr/>
        </p:nvSpPr>
        <p:spPr>
          <a:xfrm>
            <a:off x="10368318" y="1371074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9C1BC83-8B2D-4CEB-9068-2C41D10CA1AC}"/>
              </a:ext>
            </a:extLst>
          </p:cNvPr>
          <p:cNvSpPr/>
          <p:nvPr/>
        </p:nvSpPr>
        <p:spPr>
          <a:xfrm>
            <a:off x="10368317" y="1888577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7C3952-A85E-447F-A446-C31B07748CAD}"/>
              </a:ext>
            </a:extLst>
          </p:cNvPr>
          <p:cNvSpPr txBox="1"/>
          <p:nvPr/>
        </p:nvSpPr>
        <p:spPr>
          <a:xfrm>
            <a:off x="10635556" y="1338037"/>
            <a:ext cx="14734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sociálníh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 v ISIN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C809B18B-7C7D-43CA-B6B5-0397532BC5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85692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0299713B-111D-4B25-B8CB-B6E1B62ADA5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853520"/>
              </p:ext>
            </p:extLst>
          </p:nvPr>
        </p:nvGraphicFramePr>
        <p:xfrm>
          <a:off x="1563624" y="3303770"/>
          <a:ext cx="10232136" cy="3331345"/>
        </p:xfrm>
        <a:graphic>
          <a:graphicData uri="http://schemas.openxmlformats.org/drawingml/2006/table">
            <a:tbl>
              <a:tblPr firstRow="1" firstCol="1">
                <a:tableStyleId>{B301B821-A1FF-4177-AEE7-76D212191A09}</a:tableStyleId>
              </a:tblPr>
              <a:tblGrid>
                <a:gridCol w="1976410">
                  <a:extLst>
                    <a:ext uri="{9D8B030D-6E8A-4147-A177-3AD203B41FA5}">
                      <a16:colId xmlns:a16="http://schemas.microsoft.com/office/drawing/2014/main" val="1751799772"/>
                    </a:ext>
                  </a:extLst>
                </a:gridCol>
                <a:gridCol w="892342">
                  <a:extLst>
                    <a:ext uri="{9D8B030D-6E8A-4147-A177-3AD203B41FA5}">
                      <a16:colId xmlns:a16="http://schemas.microsoft.com/office/drawing/2014/main" val="902193333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364489532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10038520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91593423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612252977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618545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75051404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75659276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0982301"/>
                    </a:ext>
                  </a:extLst>
                </a:gridCol>
              </a:tblGrid>
              <a:tr h="1821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Kumulativní počet pozitivních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evalence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2631"/>
                  </a:ext>
                </a:extLst>
              </a:tr>
              <a:tr h="263108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90663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9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41120267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2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8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1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9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716811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5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0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293416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0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2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5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41161169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3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14463784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9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6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8307135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2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2343430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1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2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1741139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2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3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4612172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4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8760682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6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2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712928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6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8567351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2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4918007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0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5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15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6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4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8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580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518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506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024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5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9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2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1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7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3636442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3" name="Tabulka 5">
            <a:extLst>
              <a:ext uri="{FF2B5EF4-FFF2-40B4-BE49-F238E27FC236}">
                <a16:creationId xmlns:a16="http://schemas.microsoft.com/office/drawing/2014/main" id="{6F1BE403-568C-4410-92A9-A495D2FAEF4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9066566"/>
              </p:ext>
            </p:extLst>
          </p:nvPr>
        </p:nvGraphicFramePr>
        <p:xfrm>
          <a:off x="396240" y="703131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zitivní kumulativně od 1. 9. 20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5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5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02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03F2B12B-C7FB-433C-B31C-39BA2987435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12436513"/>
              </p:ext>
            </p:extLst>
          </p:nvPr>
        </p:nvGraphicFramePr>
        <p:xfrm>
          <a:off x="6827777" y="94014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4423F0C7-01F1-48B0-8558-9204B4FCEBBD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73867934"/>
              </p:ext>
            </p:extLst>
          </p:nvPr>
        </p:nvGraphicFramePr>
        <p:xfrm>
          <a:off x="5005129" y="95823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3CFFE266-D6AE-4802-A847-9E0F891F1121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97893949"/>
              </p:ext>
            </p:extLst>
          </p:nvPr>
        </p:nvGraphicFramePr>
        <p:xfrm>
          <a:off x="8650425" y="93784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4" name="Tabulka 5">
            <a:extLst>
              <a:ext uri="{FF2B5EF4-FFF2-40B4-BE49-F238E27FC236}">
                <a16:creationId xmlns:a16="http://schemas.microsoft.com/office/drawing/2014/main" id="{56437C1F-4D10-4D3E-B0A8-9518E5C68D6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77621582"/>
              </p:ext>
            </p:extLst>
          </p:nvPr>
        </p:nvGraphicFramePr>
        <p:xfrm>
          <a:off x="396240" y="2014267"/>
          <a:ext cx="428989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3035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3689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7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revalen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BD5140DF-3074-4F6E-8ED2-520771412FF8}"/>
              </a:ext>
            </a:extLst>
          </p:cNvPr>
          <p:cNvSpPr/>
          <p:nvPr/>
        </p:nvSpPr>
        <p:spPr>
          <a:xfrm>
            <a:off x="10603771" y="1639953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021D8A8-D008-4697-AC1C-88E72BFFF03A}"/>
              </a:ext>
            </a:extLst>
          </p:cNvPr>
          <p:cNvSpPr/>
          <p:nvPr/>
        </p:nvSpPr>
        <p:spPr>
          <a:xfrm>
            <a:off x="10603770" y="2157456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413E6CF2-B54B-44CC-B0E1-F5F79475BD0F}"/>
              </a:ext>
            </a:extLst>
          </p:cNvPr>
          <p:cNvSpPr txBox="1"/>
          <p:nvPr/>
        </p:nvSpPr>
        <p:spPr>
          <a:xfrm>
            <a:off x="10825623" y="1598768"/>
            <a:ext cx="9701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2F49224-0D50-4D73-8F2F-C6E32D1DD99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095626" y="6599244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  <a:r>
              <a:rPr lang="cs-CZ" sz="1200" b="1" dirty="0">
                <a:solidFill>
                  <a:srgbClr val="C00000"/>
                </a:solidFill>
                <a:latin typeface="Arial" panose="020B0604020202020204"/>
              </a:rPr>
              <a:t>19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12. 2021</a:t>
            </a:r>
          </a:p>
        </p:txBody>
      </p:sp>
    </p:spTree>
    <p:extLst>
      <p:ext uri="{BB962C8B-B14F-4D97-AF65-F5344CB8AC3E}">
        <p14:creationId xmlns:p14="http://schemas.microsoft.com/office/powerpoint/2010/main" val="28999270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A4FC8911-8549-4A16-8D1B-80DFEF2A7C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062389" y="1134877"/>
            <a:ext cx="93647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mřelí</a:t>
            </a:r>
          </a:p>
        </p:txBody>
      </p:sp>
      <p:sp>
        <p:nvSpPr>
          <p:cNvPr id="25" name="Obdélník 30">
            <a:extLst>
              <a:ext uri="{FF2B5EF4-FFF2-40B4-BE49-F238E27FC236}">
                <a16:creationId xmlns:a16="http://schemas.microsoft.com/office/drawing/2014/main" id="{DB9838B0-0A33-4A4B-986E-9D9F71AF81E2}"/>
              </a:ext>
            </a:extLst>
          </p:cNvPr>
          <p:cNvSpPr/>
          <p:nvPr/>
        </p:nvSpPr>
        <p:spPr>
          <a:xfrm>
            <a:off x="10825441" y="1345021"/>
            <a:ext cx="232229" cy="222358"/>
          </a:xfrm>
          <a:prstGeom prst="rect">
            <a:avLst/>
          </a:prstGeom>
          <a:solidFill>
            <a:srgbClr val="D3114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31">
            <a:extLst>
              <a:ext uri="{FF2B5EF4-FFF2-40B4-BE49-F238E27FC236}">
                <a16:creationId xmlns:a16="http://schemas.microsoft.com/office/drawing/2014/main" id="{DEA0E672-4606-4BB6-81AF-B5D1874019D7}"/>
              </a:ext>
            </a:extLst>
          </p:cNvPr>
          <p:cNvSpPr/>
          <p:nvPr/>
        </p:nvSpPr>
        <p:spPr>
          <a:xfrm>
            <a:off x="10825442" y="2161275"/>
            <a:ext cx="232229" cy="222358"/>
          </a:xfrm>
          <a:prstGeom prst="rect">
            <a:avLst/>
          </a:prstGeom>
          <a:solidFill>
            <a:schemeClr val="accent5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Tabulka 5">
            <a:extLst>
              <a:ext uri="{FF2B5EF4-FFF2-40B4-BE49-F238E27FC236}">
                <a16:creationId xmlns:a16="http://schemas.microsoft.com/office/drawing/2014/main" id="{6EB11C65-1CDD-4550-89B7-A08D02ED313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51155558"/>
              </p:ext>
            </p:extLst>
          </p:nvPr>
        </p:nvGraphicFramePr>
        <p:xfrm>
          <a:off x="396240" y="1294785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Úmrtí z pozitivní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3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5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35" name="Graf 34">
            <a:extLst>
              <a:ext uri="{FF2B5EF4-FFF2-40B4-BE49-F238E27FC236}">
                <a16:creationId xmlns:a16="http://schemas.microsoft.com/office/drawing/2014/main" id="{9825F808-DBDA-4681-8826-95CA8D4BD0F6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827777" y="84489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6" name="Graf 35">
            <a:extLst>
              <a:ext uri="{FF2B5EF4-FFF2-40B4-BE49-F238E27FC236}">
                <a16:creationId xmlns:a16="http://schemas.microsoft.com/office/drawing/2014/main" id="{57DC76AD-7CE7-40BD-9E22-DF3C22F51241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52533224"/>
              </p:ext>
            </p:extLst>
          </p:nvPr>
        </p:nvGraphicFramePr>
        <p:xfrm>
          <a:off x="5005129" y="86298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8BB4745F-03D5-4071-8407-C7CEC07B41AF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27225075"/>
              </p:ext>
            </p:extLst>
          </p:nvPr>
        </p:nvGraphicFramePr>
        <p:xfrm>
          <a:off x="8650425" y="84259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D16BFC76-C19B-4A8D-8DDB-FDA0B234E69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11340989"/>
              </p:ext>
            </p:extLst>
          </p:nvPr>
        </p:nvGraphicFramePr>
        <p:xfrm>
          <a:off x="1540765" y="2971287"/>
          <a:ext cx="10115198" cy="32555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2143">
                  <a:extLst>
                    <a:ext uri="{9D8B030D-6E8A-4147-A177-3AD203B41FA5}">
                      <a16:colId xmlns:a16="http://schemas.microsoft.com/office/drawing/2014/main" val="879520779"/>
                    </a:ext>
                  </a:extLst>
                </a:gridCol>
                <a:gridCol w="1279542">
                  <a:extLst>
                    <a:ext uri="{9D8B030D-6E8A-4147-A177-3AD203B41FA5}">
                      <a16:colId xmlns:a16="http://schemas.microsoft.com/office/drawing/2014/main" val="3367828616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1646545094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2611571609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934922861"/>
                    </a:ext>
                  </a:extLst>
                </a:gridCol>
                <a:gridCol w="2369088">
                  <a:extLst>
                    <a:ext uri="{9D8B030D-6E8A-4147-A177-3AD203B41FA5}">
                      <a16:colId xmlns:a16="http://schemas.microsoft.com/office/drawing/2014/main" val="49330528"/>
                    </a:ext>
                  </a:extLst>
                </a:gridCol>
              </a:tblGrid>
              <a:tr h="268887">
                <a:tc rowSpan="2">
                  <a:txBody>
                    <a:bodyPr/>
                    <a:lstStyle/>
                    <a:p>
                      <a:pPr algn="ctr"/>
                      <a:endParaRPr lang="cs-CZ" sz="1200" dirty="0"/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ozitivní celk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Úmrtí s COVID-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094322"/>
                  </a:ext>
                </a:extLst>
              </a:tr>
              <a:tr h="337976">
                <a:tc vMerge="1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6" marR="6906" marT="6906" marB="0" anchor="b">
                    <a:solidFill>
                      <a:srgbClr val="D3114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 pobytových službác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z nakažených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ový počet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v pobytových službách z celkového počtu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901625"/>
                  </a:ext>
                </a:extLst>
              </a:tr>
              <a:tr h="928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3%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55 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96716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1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0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42155320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5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4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500357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2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979925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6279305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9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0039150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00148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21525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2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7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46383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9677124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6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8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9136076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6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497106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9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68908529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1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38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90237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02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5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287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8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54811687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84C2B06D-1EA4-4221-AB94-49921297612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9. 12. 2021</a:t>
            </a:r>
          </a:p>
        </p:txBody>
      </p:sp>
    </p:spTree>
    <p:extLst>
      <p:ext uri="{BB962C8B-B14F-4D97-AF65-F5344CB8AC3E}">
        <p14:creationId xmlns:p14="http://schemas.microsoft.com/office/powerpoint/2010/main" val="3543430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6EE5A5A9-1D77-4373-8BAE-354735C4B92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2061953"/>
              </p:ext>
            </p:extLst>
          </p:nvPr>
        </p:nvGraphicFramePr>
        <p:xfrm>
          <a:off x="317499" y="1113735"/>
          <a:ext cx="5445129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F8B5FE-5BCC-438A-9460-39F40971553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7824660"/>
              </p:ext>
            </p:extLst>
          </p:nvPr>
        </p:nvGraphicFramePr>
        <p:xfrm>
          <a:off x="6096000" y="1113736"/>
          <a:ext cx="5543552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34BC6512-09A9-45C7-9C64-6483F36FCDF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9. 12. 2021</a:t>
            </a:r>
          </a:p>
        </p:txBody>
      </p:sp>
    </p:spTree>
    <p:extLst>
      <p:ext uri="{BB962C8B-B14F-4D97-AF65-F5344CB8AC3E}">
        <p14:creationId xmlns:p14="http://schemas.microsoft.com/office/powerpoint/2010/main" val="11059652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A5AC5B58-68B4-4B88-BC43-BA177AD2572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2836592"/>
              </p:ext>
            </p:extLst>
          </p:nvPr>
        </p:nvGraphicFramePr>
        <p:xfrm>
          <a:off x="6096000" y="1130962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CC91C51-DB83-45AB-9039-0844F5E7892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1280589"/>
              </p:ext>
            </p:extLst>
          </p:nvPr>
        </p:nvGraphicFramePr>
        <p:xfrm>
          <a:off x="494659" y="1130963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6D4CE99E-2646-4004-897D-BD3135C0FC1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3595" y="6581001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9. 12. 2021</a:t>
            </a:r>
          </a:p>
        </p:txBody>
      </p:sp>
    </p:spTree>
    <p:extLst>
      <p:ext uri="{BB962C8B-B14F-4D97-AF65-F5344CB8AC3E}">
        <p14:creationId xmlns:p14="http://schemas.microsoft.com/office/powerpoint/2010/main" val="39975522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9060092"/>
              </p:ext>
            </p:ext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30006DBE-A660-415B-AEC3-B17DAF8F0BB4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1C6E9E-768E-466F-BF16-2898D9FD2D57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2495648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8069438"/>
              </p:ext>
            </p:ext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9D7E5688-CECF-4F5B-A73A-AB5B8E86B898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5">
            <a:extLst>
              <a:ext uri="{FF2B5EF4-FFF2-40B4-BE49-F238E27FC236}">
                <a16:creationId xmlns:a16="http://schemas.microsoft.com/office/drawing/2014/main" id="{86979FC1-366B-46FD-B231-EEADA63DBE0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114448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19673" cy="576000"/>
          </a:xfrm>
        </p:spPr>
        <p:txBody>
          <a:bodyPr/>
          <a:lstStyle/>
          <a:p>
            <a:r>
              <a:rPr lang="cs-CZ" dirty="0"/>
              <a:t>Úvod – zdroje dat a koncepce analýz </a:t>
            </a: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 rotWithShape="1">
          <a:blip r:embed="rId2"/>
          <a:srcRect l="29757"/>
          <a:stretch/>
        </p:blipFill>
        <p:spPr>
          <a:xfrm>
            <a:off x="1762433" y="4150796"/>
            <a:ext cx="2770419" cy="2283052"/>
          </a:xfrm>
          <a:prstGeom prst="rect">
            <a:avLst/>
          </a:prstGeom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6201" y="896112"/>
            <a:ext cx="3168556" cy="2484490"/>
          </a:xfrm>
          <a:prstGeom prst="rect">
            <a:avLst/>
          </a:prstGeom>
        </p:spPr>
      </p:pic>
      <p:sp>
        <p:nvSpPr>
          <p:cNvPr id="14" name="Šipka nahoru, doprava i doleva 13"/>
          <p:cNvSpPr/>
          <p:nvPr/>
        </p:nvSpPr>
        <p:spPr>
          <a:xfrm rot="16200000">
            <a:off x="-2074261" y="3478063"/>
            <a:ext cx="6194017" cy="467360"/>
          </a:xfrm>
          <a:prstGeom prst="leftRightUpArrow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6200000">
            <a:off x="-2606131" y="3332358"/>
            <a:ext cx="5971034" cy="75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OVID-19: </a:t>
            </a:r>
            <a:r>
              <a:rPr lang="cs-CZ" sz="1800" b="1" dirty="0">
                <a:solidFill>
                  <a:srgbClr val="2E5982"/>
                </a:solidFill>
                <a:latin typeface="Roboto" pitchFamily="2" charset="0"/>
                <a:ea typeface="Roboto" pitchFamily="2" charset="0"/>
              </a:rPr>
              <a:t>Komponenty informačního systému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pokrývají individuální</a:t>
            </a:r>
            <a:r>
              <a:rPr kumimoji="0" lang="cs-CZ" sz="1800" b="0" i="0" u="none" strike="noStrike" kern="1200" cap="none" spc="0" normalizeH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 záznamy o nákaze i šetření ohnise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E5982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16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92727">
            <a:off x="4215712" y="1258975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Epidemická šet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záznamy o ohniscích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22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77356">
            <a:off x="4103084" y="4232334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entrální systém ISI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jeho komponenty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788152" y="4746649"/>
            <a:ext cx="59710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hlášení o nákaze v sociálních zařízeních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data o nákazách klientů a pracovníků sociálních zařízení. Zdrojem dat je Informační systém infekčních nemocí a jeho modul vyvinutý pro pobytová sociální zřízení.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Záznam o nákaze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musí být nutně spojen s konkrétním ohniskem, jde o nezávislý paralelní zdroj dat.</a:t>
            </a:r>
            <a:r>
              <a:rPr kumimoji="0" lang="cs-CZ" sz="16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ejména nákaza pracovníků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ůže proběhnout v rodině, v běžném životě, při volnočasových aktivitách, …. 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6263640" y="1638360"/>
            <a:ext cx="51480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kac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hnisek nákazy při šetřeních KHS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hniska nákazy a jejich identifikace, velikost a rozsah. Popis sociálních zařízení jako možného zdroje šíření nákazy s identifikací rozsahu tohoto šíření. Srovnání rizikovosti s jinými typy ohnisek, provozů a aktivit. Výstup epidemických šetření KHS. </a:t>
            </a:r>
          </a:p>
        </p:txBody>
      </p:sp>
    </p:spTree>
    <p:extLst>
      <p:ext uri="{BB962C8B-B14F-4D97-AF65-F5344CB8AC3E}">
        <p14:creationId xmlns:p14="http://schemas.microsoft.com/office/powerpoint/2010/main" val="91595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osob v sociálních službá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10" name="Chart 31">
            <a:extLst>
              <a:ext uri="{FF2B5EF4-FFF2-40B4-BE49-F238E27FC236}">
                <a16:creationId xmlns:a16="http://schemas.microsoft.com/office/drawing/2014/main" id="{BE5C8BE7-0F1A-4F58-98DB-BC5FB33B5BD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1824955"/>
              </p:ext>
            </p:extLst>
          </p:nvPr>
        </p:nvGraphicFramePr>
        <p:xfrm>
          <a:off x="479571" y="969185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E23433FB-4692-4304-9144-77DE8AA9A529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792623A3-E899-4D9F-85FF-B10B9C35CD76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7224703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a klient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5203041"/>
              </p:ext>
            </p:extLst>
          </p:nvPr>
        </p:nvGraphicFramePr>
        <p:xfrm>
          <a:off x="136358" y="951383"/>
          <a:ext cx="11895224" cy="55917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1496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</a:tblGrid>
              <a:tr h="602086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dirty="0"/>
                        <a:t>– k 19. 12.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6887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5385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5755559"/>
              </p:ext>
            </p:ext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201932" y="3135089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ě zemřelý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FA40DFCF-4D37-4845-98CB-EE8BCD3CF07B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5136B3-EEEC-483C-9FC4-B83BA247145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7507431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a pracovník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4451822"/>
              </p:ext>
            </p:extLst>
          </p:nvPr>
        </p:nvGraphicFramePr>
        <p:xfrm>
          <a:off x="136358" y="948263"/>
          <a:ext cx="11895224" cy="56548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1496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429092777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55707670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51400419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775390072"/>
                    </a:ext>
                  </a:extLst>
                </a:gridCol>
              </a:tblGrid>
              <a:tr h="602422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dirty="0"/>
                        <a:t>– k 19. 12.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7064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lavní město Praha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38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38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lkový souče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93855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vyžadující hospitalizaci z důvodu COVID-19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0080608"/>
              </p:ext>
            </p:extLst>
          </p:nvPr>
        </p:nvGraphicFramePr>
        <p:xfrm>
          <a:off x="505507" y="1029671"/>
          <a:ext cx="11518821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6699F624-D5B2-4011-B4A6-2BC995418F25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94511879-45E4-4E33-970C-77CDADFB8F6C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177860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s těžkým průběhem nemoci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2846969"/>
              </p:ext>
            </p:extLst>
          </p:nvPr>
        </p:nvGraphicFramePr>
        <p:xfrm>
          <a:off x="352338" y="934057"/>
          <a:ext cx="11486736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BC4FF1E4-8D78-4119-AE73-5ECF233E5080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36715F8D-6236-491C-8E3C-B3955460BFC3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04396964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Příloha: retrospektivní přehled hlášení KHS po měsících</a:t>
            </a:r>
          </a:p>
        </p:txBody>
      </p:sp>
    </p:spTree>
    <p:extLst>
      <p:ext uri="{BB962C8B-B14F-4D97-AF65-F5344CB8AC3E}">
        <p14:creationId xmlns:p14="http://schemas.microsoft.com/office/powerpoint/2010/main" val="24722864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E407BC21-98D2-4484-9EC1-D74879DC1DFE}"/>
              </a:ext>
            </a:extLst>
          </p:cNvPr>
          <p:cNvGraphicFramePr>
            <a:graphicFrameLocks noGrp="1"/>
          </p:cNvGraphicFramePr>
          <p:nvPr/>
        </p:nvGraphicFramePr>
        <p:xfrm>
          <a:off x="7357698" y="5556199"/>
          <a:ext cx="4559770" cy="860988"/>
        </p:xfrm>
        <a:graphic>
          <a:graphicData uri="http://schemas.openxmlformats.org/drawingml/2006/table">
            <a:tbl>
              <a:tblPr/>
              <a:tblGrid>
                <a:gridCol w="911954">
                  <a:extLst>
                    <a:ext uri="{9D8B030D-6E8A-4147-A177-3AD203B41FA5}">
                      <a16:colId xmlns:a16="http://schemas.microsoft.com/office/drawing/2014/main" val="3781823447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3939987608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2504438164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1301809795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782449002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873528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71677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</a:t>
            </a:r>
          </a:p>
        </p:txBody>
      </p:sp>
    </p:spTree>
    <p:extLst>
      <p:ext uri="{BB962C8B-B14F-4D97-AF65-F5344CB8AC3E}">
        <p14:creationId xmlns:p14="http://schemas.microsoft.com/office/powerpoint/2010/main" val="5583502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83B49AA-8160-4750-A999-FE1211C7E208}"/>
              </a:ext>
            </a:extLst>
          </p:cNvPr>
          <p:cNvGraphicFramePr>
            <a:graphicFrameLocks noGrp="1"/>
          </p:cNvGraphicFramePr>
          <p:nvPr/>
        </p:nvGraphicFramePr>
        <p:xfrm>
          <a:off x="7366472" y="5556199"/>
          <a:ext cx="4550995" cy="860988"/>
        </p:xfrm>
        <a:graphic>
          <a:graphicData uri="http://schemas.openxmlformats.org/drawingml/2006/table">
            <a:tbl>
              <a:tblPr/>
              <a:tblGrid>
                <a:gridCol w="910199">
                  <a:extLst>
                    <a:ext uri="{9D8B030D-6E8A-4147-A177-3AD203B41FA5}">
                      <a16:colId xmlns:a16="http://schemas.microsoft.com/office/drawing/2014/main" val="14559615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132357124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38509464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74027842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618420229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53447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800920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0 </a:t>
            </a:r>
          </a:p>
        </p:txBody>
      </p:sp>
    </p:spTree>
    <p:extLst>
      <p:ext uri="{BB962C8B-B14F-4D97-AF65-F5344CB8AC3E}">
        <p14:creationId xmlns:p14="http://schemas.microsoft.com/office/powerpoint/2010/main" val="29070372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88B3E13-B2CE-4977-A51D-63EE09726F48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307581347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663620388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150320877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545488870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400996549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00566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145489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0 </a:t>
            </a:r>
          </a:p>
        </p:txBody>
      </p:sp>
    </p:spTree>
    <p:extLst>
      <p:ext uri="{BB962C8B-B14F-4D97-AF65-F5344CB8AC3E}">
        <p14:creationId xmlns:p14="http://schemas.microsoft.com/office/powerpoint/2010/main" val="26059603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228599" y="303490"/>
            <a:ext cx="11327021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Dle hlášení KHS došlo v říjnu a zejména v listopadu 2021 k mírnému nárůstu počtu nákaz (a ohnisek) v sociálních zařízeních. Jde ale o počty, které jsou velmi významně nižší ve srovnání např. s jarem 2021. KHS identifikovaly za říjen 15 ohnisek v sociálních zařízeních (celkem 158 nakažených osob) a za listopad 39 ohnisek s celkem 644 dosud zařazenými nakaženými osobami. </a:t>
            </a:r>
          </a:p>
          <a:p>
            <a:pPr algn="ctr">
              <a:defRPr/>
            </a:pPr>
            <a:endParaRPr lang="cs-CZ" sz="2400" b="1" dirty="0"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Za prosinec bylo k 19.12. dosud nahlášeno 29 událostí s celkem 419 zařazenými osobami. V žádném z regionů </a:t>
            </a:r>
            <a:r>
              <a:rPr lang="cs-CZ" sz="2400" b="1" dirty="0">
                <a:latin typeface="Calibri" panose="020F0502020204030204"/>
              </a:rPr>
              <a:t>KHS neregistrují kumulaci nákaz v segmentu sociálních služeb, n</a:t>
            </a:r>
            <a:r>
              <a:rPr kumimoji="0" lang="cs-CZ" sz="24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ejvyšší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 výskyt (4 ohniska se 106 zařazenými osobami) registruje Jihočeský kraj.</a:t>
            </a:r>
            <a:endParaRPr kumimoji="0" lang="cs-CZ" sz="2400" b="1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  <a:p>
            <a:pPr algn="ctr">
              <a:defRPr/>
            </a:pPr>
            <a:endParaRPr lang="cs-CZ" sz="2400" b="1" dirty="0">
              <a:solidFill>
                <a:srgbClr val="C00000"/>
              </a:solidFill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Ve srovnání s jarem 2021 jde stále o velmi nízké počty a při dělení na kraje pouze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o jednotkové počty epidemických událostí. </a:t>
            </a:r>
            <a:r>
              <a:rPr lang="cs-CZ" sz="2400" b="1" dirty="0">
                <a:solidFill>
                  <a:srgbClr val="0000FF"/>
                </a:solidFill>
                <a:latin typeface="Calibri" panose="020F0502020204030204"/>
              </a:rPr>
              <a:t>Tato data ukazují, že situace v sociálních zařízeních je stále pod kontrolou, velký ochranný efekt hraje vakcinace a také samozřejmě počet klientů, kteří prodělali nákazu v uplynulém období. </a:t>
            </a:r>
            <a:endParaRPr lang="cs-CZ" sz="2400" dirty="0">
              <a:solidFill>
                <a:srgbClr val="0000FF"/>
              </a:solidFill>
              <a:latin typeface="Calibri" panose="020F0502020204030204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32579" y="5737257"/>
            <a:ext cx="1319062" cy="817253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37983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4A733E4-6C6F-4673-8EB3-43E9F53AA9A4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43019"/>
          <a:ext cx="4568082" cy="87416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53268115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858746802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7708748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39288601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01014498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111499919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400213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293707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.–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.–16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.–23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8.–30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0 </a:t>
            </a:r>
          </a:p>
        </p:txBody>
      </p:sp>
    </p:spTree>
    <p:extLst>
      <p:ext uri="{BB962C8B-B14F-4D97-AF65-F5344CB8AC3E}">
        <p14:creationId xmlns:p14="http://schemas.microsoft.com/office/powerpoint/2010/main" val="26185533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0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716FADC-95C9-4EF9-8F0F-16C13097F4FC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4036163115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73645088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27902353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734581894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248500227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5001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960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86264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048D0C3-4A1B-4F04-8420-3640670E172C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7"/>
          <a:ext cx="4564170" cy="853442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72228755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30873051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9226697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8627300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805520120"/>
                    </a:ext>
                  </a:extLst>
                </a:gridCol>
              </a:tblGrid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99578"/>
                  </a:ext>
                </a:extLst>
              </a:tr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653917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5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8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0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0 </a:t>
            </a:r>
          </a:p>
        </p:txBody>
      </p:sp>
    </p:spTree>
    <p:extLst>
      <p:ext uri="{BB962C8B-B14F-4D97-AF65-F5344CB8AC3E}">
        <p14:creationId xmlns:p14="http://schemas.microsoft.com/office/powerpoint/2010/main" val="17170896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F0AA7A5-EFAC-4CD9-9800-84DEB34D6674}"/>
              </a:ext>
            </a:extLst>
          </p:cNvPr>
          <p:cNvGraphicFramePr>
            <a:graphicFrameLocks noGrp="1"/>
          </p:cNvGraphicFramePr>
          <p:nvPr/>
        </p:nvGraphicFramePr>
        <p:xfrm>
          <a:off x="7358909" y="5543019"/>
          <a:ext cx="4558560" cy="874166"/>
        </p:xfrm>
        <a:graphic>
          <a:graphicData uri="http://schemas.openxmlformats.org/drawingml/2006/table">
            <a:tbl>
              <a:tblPr/>
              <a:tblGrid>
                <a:gridCol w="759760">
                  <a:extLst>
                    <a:ext uri="{9D8B030D-6E8A-4147-A177-3AD203B41FA5}">
                      <a16:colId xmlns:a16="http://schemas.microsoft.com/office/drawing/2014/main" val="431450114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293986261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870908832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418553957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813615049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9506064"/>
                    </a:ext>
                  </a:extLst>
                </a:gridCol>
              </a:tblGrid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213456"/>
                  </a:ext>
                </a:extLst>
              </a:tr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8762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9 (6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4 (6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 (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1/2020 </a:t>
            </a:r>
          </a:p>
        </p:txBody>
      </p:sp>
    </p:spTree>
    <p:extLst>
      <p:ext uri="{BB962C8B-B14F-4D97-AF65-F5344CB8AC3E}">
        <p14:creationId xmlns:p14="http://schemas.microsoft.com/office/powerpoint/2010/main" val="211894150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2761B6C-BAB4-4CB7-9972-A9ACAC518D35}"/>
              </a:ext>
            </a:extLst>
          </p:cNvPr>
          <p:cNvGraphicFramePr>
            <a:graphicFrameLocks noGrp="1"/>
          </p:cNvGraphicFramePr>
          <p:nvPr/>
        </p:nvGraphicFramePr>
        <p:xfrm>
          <a:off x="7362824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0915617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47271214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135892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56152929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87565420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438040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49020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4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2/2020</a:t>
            </a:r>
          </a:p>
        </p:txBody>
      </p:sp>
    </p:spTree>
    <p:extLst>
      <p:ext uri="{BB962C8B-B14F-4D97-AF65-F5344CB8AC3E}">
        <p14:creationId xmlns:p14="http://schemas.microsoft.com/office/powerpoint/2010/main" val="394361220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7074580-7378-4DC7-905D-4C6D0765102E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85530437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11719903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95470282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4514466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75394469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96732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0950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9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1</a:t>
            </a:r>
          </a:p>
        </p:txBody>
      </p:sp>
      <p:sp>
        <p:nvSpPr>
          <p:cNvPr id="20" name="TextovéPole 9">
            <a:extLst>
              <a:ext uri="{FF2B5EF4-FFF2-40B4-BE49-F238E27FC236}">
                <a16:creationId xmlns:a16="http://schemas.microsoft.com/office/drawing/2014/main" id="{7E384A36-F04C-4CFB-AE35-7DB6EC2667C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86690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C8940F4-E367-4975-9E2F-DC4BD5527F99}"/>
              </a:ext>
            </a:extLst>
          </p:cNvPr>
          <p:cNvGraphicFramePr>
            <a:graphicFrameLocks noGrp="1"/>
          </p:cNvGraphicFramePr>
          <p:nvPr/>
        </p:nvGraphicFramePr>
        <p:xfrm>
          <a:off x="7355846" y="5556199"/>
          <a:ext cx="4561624" cy="853440"/>
        </p:xfrm>
        <a:graphic>
          <a:graphicData uri="http://schemas.openxmlformats.org/drawingml/2006/table">
            <a:tbl>
              <a:tblPr/>
              <a:tblGrid>
                <a:gridCol w="1140406">
                  <a:extLst>
                    <a:ext uri="{9D8B030D-6E8A-4147-A177-3AD203B41FA5}">
                      <a16:colId xmlns:a16="http://schemas.microsoft.com/office/drawing/2014/main" val="1626908255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993666441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582674586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186028161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8709309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4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241769" y="1111953"/>
          <a:ext cx="5595008" cy="5305234"/>
        </p:xfrm>
        <a:graphic>
          <a:graphicData uri="http://schemas.openxmlformats.org/drawingml/2006/table">
            <a:tbl>
              <a:tblPr/>
              <a:tblGrid>
                <a:gridCol w="195165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BDF07863-E626-446B-8502-11E8F41822DD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83496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C356167-F022-472E-9A90-09B706895E01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57412583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48750124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0681447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9752218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12628845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342833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1719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66196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CC44A54-A727-4A27-AAD6-9EDB9E74857F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51757496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04557882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0649300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507872686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43882254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9698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80242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4/2021</a:t>
            </a:r>
          </a:p>
        </p:txBody>
      </p:sp>
      <p:sp>
        <p:nvSpPr>
          <p:cNvPr id="11" name="TextovéPole 9">
            <a:extLst>
              <a:ext uri="{FF2B5EF4-FFF2-40B4-BE49-F238E27FC236}">
                <a16:creationId xmlns:a16="http://schemas.microsoft.com/office/drawing/2014/main" id="{1DF2C9EC-1343-455F-B625-1BA8F6D4F4A8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18799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BFAEF02-39D0-40BD-A8AF-48F84CD1AFC9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5344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162878116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50112385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413046743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68657496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6641087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8252222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882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0645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1</a:t>
            </a:r>
          </a:p>
        </p:txBody>
      </p:sp>
    </p:spTree>
    <p:extLst>
      <p:ext uri="{BB962C8B-B14F-4D97-AF65-F5344CB8AC3E}">
        <p14:creationId xmlns:p14="http://schemas.microsoft.com/office/powerpoint/2010/main" val="7121080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DF167DC-F997-49A0-9ED6-83B8C4A72A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5947547"/>
              </p:ext>
            </p:extLst>
          </p:nvPr>
        </p:nvGraphicFramePr>
        <p:xfrm>
          <a:off x="1032110" y="5723959"/>
          <a:ext cx="10912282" cy="731520"/>
        </p:xfrm>
        <a:graphic>
          <a:graphicData uri="http://schemas.openxmlformats.org/drawingml/2006/table">
            <a:tbl>
              <a:tblPr/>
              <a:tblGrid>
                <a:gridCol w="126887">
                  <a:extLst>
                    <a:ext uri="{9D8B030D-6E8A-4147-A177-3AD203B41FA5}">
                      <a16:colId xmlns:a16="http://schemas.microsoft.com/office/drawing/2014/main" val="3882244828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4232472815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4040534075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2155936861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2305701667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2398955466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2489289787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2842563430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2202081700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77236480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2597668163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457893054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76718541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354992404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639855654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286551048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571772428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2597116532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047585896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2796574844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51872751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287921767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726393137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626240655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52586761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2173427716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69339080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977739307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2217493152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722671536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2539224906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928514659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4249936678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4146072671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4213424213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476316846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764589074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035391875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2710979160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943788111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587692232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99209969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167904417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640381282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504601701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2844122258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2127183434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4010725181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4208306952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931365616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173009995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594167274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253595523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811774085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530536815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982782786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901888938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2991923031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788499030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543104539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045366255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107502832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343720216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525368918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211819673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437771693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2576533758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2245860991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53463496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996351374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539613707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2735083881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2393605645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792895821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22777950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2962903202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869420158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39125149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62678871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462078314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138298740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2149441817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351927915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1677639182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391947330"/>
                    </a:ext>
                  </a:extLst>
                </a:gridCol>
                <a:gridCol w="126887">
                  <a:extLst>
                    <a:ext uri="{9D8B030D-6E8A-4147-A177-3AD203B41FA5}">
                      <a16:colId xmlns:a16="http://schemas.microsoft.com/office/drawing/2014/main" val="348529951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06403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8638607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9070776"/>
              </p:ext>
            </p:extLst>
          </p:nvPr>
        </p:nvGraphicFramePr>
        <p:xfrm>
          <a:off x="485775" y="895349"/>
          <a:ext cx="11608237" cy="482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90905" y="5727649"/>
          <a:ext cx="11853445" cy="73152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7025837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9" name="TextovéPole 9">
            <a:extLst>
              <a:ext uri="{FF2B5EF4-FFF2-40B4-BE49-F238E27FC236}">
                <a16:creationId xmlns:a16="http://schemas.microsoft.com/office/drawing/2014/main" id="{6C2CDEC2-B893-491C-BB5B-D4EEE3DC82DC}"/>
              </a:ext>
            </a:extLst>
          </p:cNvPr>
          <p:cNvSpPr txBox="1"/>
          <p:nvPr/>
        </p:nvSpPr>
        <p:spPr>
          <a:xfrm>
            <a:off x="8274425" y="6516527"/>
            <a:ext cx="3819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19. 12. 2021</a:t>
            </a:r>
          </a:p>
        </p:txBody>
      </p:sp>
    </p:spTree>
    <p:extLst>
      <p:ext uri="{BB962C8B-B14F-4D97-AF65-F5344CB8AC3E}">
        <p14:creationId xmlns:p14="http://schemas.microsoft.com/office/powerpoint/2010/main" val="11872228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CC47735-3001-43A6-B955-E419A3EC1853}"/>
              </a:ext>
            </a:extLst>
          </p:cNvPr>
          <p:cNvGraphicFramePr>
            <a:graphicFrameLocks noGrp="1"/>
          </p:cNvGraphicFramePr>
          <p:nvPr/>
        </p:nvGraphicFramePr>
        <p:xfrm>
          <a:off x="7357964" y="5556199"/>
          <a:ext cx="4559505" cy="853440"/>
        </p:xfrm>
        <a:graphic>
          <a:graphicData uri="http://schemas.openxmlformats.org/drawingml/2006/table">
            <a:tbl>
              <a:tblPr/>
              <a:tblGrid>
                <a:gridCol w="911901">
                  <a:extLst>
                    <a:ext uri="{9D8B030D-6E8A-4147-A177-3AD203B41FA5}">
                      <a16:colId xmlns:a16="http://schemas.microsoft.com/office/drawing/2014/main" val="1486795782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22571971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46167304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2249125035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840746938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04164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0949039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3470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7ED1146-C9C8-494A-B83A-6D1444C47513}"/>
              </a:ext>
            </a:extLst>
          </p:cNvPr>
          <p:cNvGraphicFramePr>
            <a:graphicFrameLocks noGrp="1"/>
          </p:cNvGraphicFramePr>
          <p:nvPr/>
        </p:nvGraphicFramePr>
        <p:xfrm>
          <a:off x="7362826" y="5543020"/>
          <a:ext cx="4554640" cy="866620"/>
        </p:xfrm>
        <a:graphic>
          <a:graphicData uri="http://schemas.openxmlformats.org/drawingml/2006/table">
            <a:tbl>
              <a:tblPr/>
              <a:tblGrid>
                <a:gridCol w="910928">
                  <a:extLst>
                    <a:ext uri="{9D8B030D-6E8A-4147-A177-3AD203B41FA5}">
                      <a16:colId xmlns:a16="http://schemas.microsoft.com/office/drawing/2014/main" val="1215948292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747667204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344201301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217620225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485669683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635236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535690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43774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A6BDA19-CED9-4AD8-A8D3-38CA86903F22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6098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280123575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2134165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3870447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7626496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4262943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07797777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469714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95784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1</a:t>
            </a:r>
          </a:p>
        </p:txBody>
      </p:sp>
    </p:spTree>
    <p:extLst>
      <p:ext uri="{BB962C8B-B14F-4D97-AF65-F5344CB8AC3E}">
        <p14:creationId xmlns:p14="http://schemas.microsoft.com/office/powerpoint/2010/main" val="208460716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6897C-047E-47E5-B3A3-E78E699656D0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43019"/>
          <a:ext cx="4564170" cy="874168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358418510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46526545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76897358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21623622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809614840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491470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8316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340919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6EE2C37-338A-492C-9788-E31A89B746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1982729"/>
              </p:ext>
            </p:extLst>
          </p:nvPr>
        </p:nvGraphicFramePr>
        <p:xfrm>
          <a:off x="7343774" y="5543019"/>
          <a:ext cx="4573695" cy="866620"/>
        </p:xfrm>
        <a:graphic>
          <a:graphicData uri="http://schemas.openxmlformats.org/drawingml/2006/table">
            <a:tbl>
              <a:tblPr/>
              <a:tblGrid>
                <a:gridCol w="914739">
                  <a:extLst>
                    <a:ext uri="{9D8B030D-6E8A-4147-A177-3AD203B41FA5}">
                      <a16:colId xmlns:a16="http://schemas.microsoft.com/office/drawing/2014/main" val="2232248336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803164521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492686028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860026255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241218159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672111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56587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7552454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8296815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240492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571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7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28F5E2B2-F309-45AF-8A83-D5361039864E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9890"/>
          <a:ext cx="9370019" cy="533481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011204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702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Počet nakažených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ka Více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entrin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irovická, pav. A a 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Běch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lzheimer Rozto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Dómském pahorku Lito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Dukla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 Dolní zámek Teplice n 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něženka Jese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Na Výsluní Hoř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a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Mysli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é centrum Kame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vízd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áj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Proseč-Obořišt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Liščině, Čtyřl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Březové H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z.ú.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 Máj České Budějovice 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MSSS Marie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3105498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okol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32507058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inka Něm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ružení Veleta - domov pro osoby se zdravotním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42757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UMORAV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757913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ÁŽAN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AE8B431-D698-44D7-B21C-AB8F1486EA46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434626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5809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1. – 14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4464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907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ty Cerhe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Peč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 Duha Písek chráněné bydle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a24, Vila Vita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n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Kyjovice (Opava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Osoblaha, Klášterní 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, Krnov, Rooseveltova ul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ězda Poděb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ada spasy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lunovrat, Ostrava-Přívoz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Slan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Poh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Od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ARCHA - Nový Jič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lní Cet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SS Od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osoby se zdravotním postižením Zběšičky, Bernartice u Milevs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Na Stříbrném vrch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y Havlíčkův Brod, Humpolec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UHA - Nový Jičín, Mách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al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arcov Liberec, o.p.s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6382071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KV Bíl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109983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unce všem Unhošť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141554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tky Vojtěch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1555348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dům Soběsla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in zám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667D330D-9FE5-49E1-ACFD-E4A842FA346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43964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. – 2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49415"/>
          <a:ext cx="9684753" cy="531327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227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ortenzie Bořan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y Na Třešňovc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BORŠ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BARBORKA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DASENIOR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10 DPS Zvonk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llevue Vila Prague,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Kostelec nad Černými Le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uroje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2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OZP Domovy Na Třešňov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vený Vr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ládežnická Jir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P2, J.Masa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Wágnerka Český Kruml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ZC Leti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Lip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02730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homu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89796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PAČLAVICE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7240389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KCH Charitní domov Město Albrechtice, Úzká 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9EABA060-817D-4986-8BA1-491519C478A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06801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22. 1. – 3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2180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chlického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Ždí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ČK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 Janouc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Anima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oj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GOM  Pňov-Předhrad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V Podzámčí, Ří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umpo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Větr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Farní charita 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dl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 Loto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Vše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ásné Břez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Benátky nad Jizer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P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í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88086200-61E2-48BD-9BE8-7E58FE39E79B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788469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39900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453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ovysočan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Kavčí Skálou Ří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ociálních služeb  Staroměstská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Milíčev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lezská Humanita, Orlová - Laz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ntána - centrum sociálních služeb Hluč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Skalou Mníšek p. Br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okánek Hosti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Vršovický zámeč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Skalami Kurovo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r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voneček Byl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kadie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krušnohorské domovy soc. služeb Dub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4044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 centrum denních služeb Jablonec nad Nisou (Domovy pro osoby se zdravotním postižením – pro že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5869068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Pelhřim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žice - DpS a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Jaroš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Bažant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niklec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chlovice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4526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3173977A-BB0B-43F5-BA61-FCEF46EAE4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640099"/>
              </p:ext>
            </p:extLst>
          </p:nvPr>
        </p:nvGraphicFramePr>
        <p:xfrm>
          <a:off x="7428791" y="5737704"/>
          <a:ext cx="4564860" cy="731520"/>
        </p:xfrm>
        <a:graphic>
          <a:graphicData uri="http://schemas.openxmlformats.org/drawingml/2006/table">
            <a:tbl>
              <a:tblPr/>
              <a:tblGrid>
                <a:gridCol w="228243">
                  <a:extLst>
                    <a:ext uri="{9D8B030D-6E8A-4147-A177-3AD203B41FA5}">
                      <a16:colId xmlns:a16="http://schemas.microsoft.com/office/drawing/2014/main" val="2126235623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465974390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901052714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4051302756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4220978193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411876692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570974720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407946992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937012632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4192730399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000625345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88541408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686263936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671260428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4059589911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170547327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200056838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515286947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440661730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707798921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70000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0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2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1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4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938603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343901" y="6516527"/>
            <a:ext cx="3750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19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4" name="Obdélník 11">
            <a:extLst>
              <a:ext uri="{FF2B5EF4-FFF2-40B4-BE49-F238E27FC236}">
                <a16:creationId xmlns:a16="http://schemas.microsoft.com/office/drawing/2014/main" id="{38C2AC7A-9C23-4CCF-B20F-266DA9F7115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0905" y="6522363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Tabulka 14">
            <a:extLst>
              <a:ext uri="{FF2B5EF4-FFF2-40B4-BE49-F238E27FC236}">
                <a16:creationId xmlns:a16="http://schemas.microsoft.com/office/drawing/2014/main" id="{50CA38BC-195A-4265-A337-74D0D69A5132}"/>
              </a:ext>
            </a:extLst>
          </p:cNvPr>
          <p:cNvGraphicFramePr>
            <a:graphicFrameLocks noGrp="1"/>
          </p:cNvGraphicFramePr>
          <p:nvPr/>
        </p:nvGraphicFramePr>
        <p:xfrm>
          <a:off x="6600825" y="1314771"/>
          <a:ext cx="5393547" cy="365760"/>
        </p:xfrm>
        <a:graphic>
          <a:graphicData uri="http://schemas.openxmlformats.org/drawingml/2006/table">
            <a:tbl>
              <a:tblPr/>
              <a:tblGrid>
                <a:gridCol w="77918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33287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 denně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72589205-FA3E-4546-869C-5462A9B69E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3250579"/>
              </p:ext>
            </p:extLst>
          </p:nvPr>
        </p:nvGraphicFramePr>
        <p:xfrm>
          <a:off x="6895909" y="1703559"/>
          <a:ext cx="5215710" cy="3959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Obdélník 13">
            <a:extLst>
              <a:ext uri="{FF2B5EF4-FFF2-40B4-BE49-F238E27FC236}">
                <a16:creationId xmlns:a16="http://schemas.microsoft.com/office/drawing/2014/main" id="{0CBAB1B0-E713-42C3-B005-9F720593CBF2}"/>
              </a:ext>
            </a:extLst>
          </p:cNvPr>
          <p:cNvSpPr/>
          <p:nvPr/>
        </p:nvSpPr>
        <p:spPr>
          <a:xfrm>
            <a:off x="6986345" y="955453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5" name="Tabulka 14">
            <a:extLst>
              <a:ext uri="{FF2B5EF4-FFF2-40B4-BE49-F238E27FC236}">
                <a16:creationId xmlns:a16="http://schemas.microsoft.com/office/drawing/2014/main" id="{E3F2A5EE-FD0D-4E26-AEC0-D9CFDEEC1E60}"/>
              </a:ext>
            </a:extLst>
          </p:cNvPr>
          <p:cNvGraphicFramePr>
            <a:graphicFrameLocks noGrp="1"/>
          </p:cNvGraphicFramePr>
          <p:nvPr/>
        </p:nvGraphicFramePr>
        <p:xfrm>
          <a:off x="6686550" y="5737704"/>
          <a:ext cx="5307832" cy="731520"/>
        </p:xfrm>
        <a:graphic>
          <a:graphicData uri="http://schemas.openxmlformats.org/drawingml/2006/table">
            <a:tbl>
              <a:tblPr/>
              <a:tblGrid>
                <a:gridCol w="75111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6" name="Obdélník 13">
            <a:extLst>
              <a:ext uri="{FF2B5EF4-FFF2-40B4-BE49-F238E27FC236}">
                <a16:creationId xmlns:a16="http://schemas.microsoft.com/office/drawing/2014/main" id="{0ABA3511-66CD-4489-AF5A-F87C351FF89D}"/>
              </a:ext>
            </a:extLst>
          </p:cNvPr>
          <p:cNvSpPr/>
          <p:nvPr/>
        </p:nvSpPr>
        <p:spPr>
          <a:xfrm>
            <a:off x="190492" y="571917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– 12/2021 k 19. 12.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7A17A29C-4F23-47B3-905B-F8299A2B9E6E}"/>
              </a:ext>
            </a:extLst>
          </p:cNvPr>
          <p:cNvSpPr/>
          <p:nvPr/>
        </p:nvSpPr>
        <p:spPr>
          <a:xfrm>
            <a:off x="11515622" y="5505680"/>
            <a:ext cx="62709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 19. 12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10">
            <a:extLst>
              <a:ext uri="{FF2B5EF4-FFF2-40B4-BE49-F238E27FC236}">
                <a16:creationId xmlns:a16="http://schemas.microsoft.com/office/drawing/2014/main" id="{0EE03235-90B5-4828-A095-CA13F7204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9412113"/>
              </p:ext>
            </p:extLst>
          </p:nvPr>
        </p:nvGraphicFramePr>
        <p:xfrm>
          <a:off x="47625" y="989354"/>
          <a:ext cx="6437728" cy="5416275"/>
        </p:xfrm>
        <a:graphic>
          <a:graphicData uri="http://schemas.openxmlformats.org/drawingml/2006/table">
            <a:tbl>
              <a:tblPr/>
              <a:tblGrid>
                <a:gridCol w="58781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2675377350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1722521615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1368621166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2832739057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1571506889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1159134526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2805932271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2944690473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650913940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274616259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121507709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4084179970"/>
                    </a:ext>
                  </a:extLst>
                </a:gridCol>
              </a:tblGrid>
              <a:tr h="664991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clusterů)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 2021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 19. 12.</a:t>
                      </a:r>
                      <a:endParaRPr lang="cs-CZ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9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1605C9C6-5E3B-4691-B59C-1984992743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6247913"/>
              </p:ext>
            </p:extLst>
          </p:nvPr>
        </p:nvGraphicFramePr>
        <p:xfrm>
          <a:off x="7428791" y="1231842"/>
          <a:ext cx="4564860" cy="451686"/>
        </p:xfrm>
        <a:graphic>
          <a:graphicData uri="http://schemas.openxmlformats.org/drawingml/2006/table">
            <a:tbl>
              <a:tblPr/>
              <a:tblGrid>
                <a:gridCol w="228243">
                  <a:extLst>
                    <a:ext uri="{9D8B030D-6E8A-4147-A177-3AD203B41FA5}">
                      <a16:colId xmlns:a16="http://schemas.microsoft.com/office/drawing/2014/main" val="1195161461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473706214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636525327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566446258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760855295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45350966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212068250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617021546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644690257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443571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247944565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646432807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87056070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4207795182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825517768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322232464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780053072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530675740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205026604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051024527"/>
                    </a:ext>
                  </a:extLst>
                </a:gridCol>
              </a:tblGrid>
              <a:tr h="111400"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2718274"/>
                  </a:ext>
                </a:extLst>
              </a:tr>
              <a:tr h="3402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,7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,4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0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,7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8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2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01363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06886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2. – 1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82740"/>
          <a:ext cx="9684753" cy="548247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935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Název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tiší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oj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aus Vacov,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SC Nechanice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pS Borohrád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áza Stars Luž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České Meziříč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ohoda Dolní Domasla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Tlos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ÚSP Domečky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věz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00417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Byst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024544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Frantiskovy Lazne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965078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h Jireh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939119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2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836253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860894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-centrum Hodonín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ku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93340608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OAS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v. Terezie, P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95684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y s pečovatelskou službou F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403057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2. – 28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236412"/>
          <a:ext cx="9684753" cy="41809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5698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IZONT - DOZP pro mentálně postižené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ichov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kolik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ou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Krásná Líp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Srdce v dlaních Filip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a DZR Dřevčický Pa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Třin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ynzvart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alka 2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pelska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729393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3. – 17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86199"/>
          <a:ext cx="9684753" cy="542413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508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iscentrum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BETANI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 v České republice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P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ncentinum Šu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end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KM 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As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sle Františka Malíka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Litvínov Janov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Bojče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S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edov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lad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Libice n. C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Arret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rajánek Jes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644818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roznetin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v Kopřivnici - Domov NaNov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47135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3. – 31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079D213B-AFD8-441E-95CD-54620E25AEB5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6715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68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 Beroun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Svaté rodiny Příbra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Fénix Horoměř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ní Strop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tyřlíst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 sv. Pavla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Staroměstská 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á dílna Avízo s.r.o Zli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Ludgeř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radec nad Moravic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a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rtní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Nové H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Srbe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Chotělice 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mino Zavid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stomice - Záto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Ústí nad Lab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Břez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825637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ANIT - domov pro senio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193873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r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4023278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ď Hermes -CSS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68321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ka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695466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Sně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354328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centrum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459573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klidného stáří Pravětín Vimper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řetislav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3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 Erbenova, Hlinsk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17097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4. – 31. 8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026863"/>
          <a:ext cx="9684753" cy="513188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162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centrum Domeček Hodon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Tovačov-JA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 Sedlec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3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P Žampa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zy s.r.o Dobrá Voda u Českých Budějovi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Čsl. armády 837/36 bcd, Krnov 794 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iraf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Pá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Zábře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000126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U Pramene Lou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372521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amaritán Ústí nad Lab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50470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Době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9167198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spenava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9785268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691704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P Máchova 14,P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7168677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Chroust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8555041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4493442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 , varianta alf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0991216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 Ostrava - Zukal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32772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lčí Po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543187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8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055402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9. – 31. 10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7809721"/>
              </p:ext>
            </p:extLst>
          </p:nvPr>
        </p:nvGraphicFramePr>
        <p:xfrm>
          <a:off x="1372685" y="1026864"/>
          <a:ext cx="9684753" cy="50686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16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LUHAČ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mo Chrudim, o.p.s - sociálně terapeutická díl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3, Roháčova 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Hrabyn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EN - EZER Český Těš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DOMOVHLUK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ámek Břež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amenec, Slezská Ostra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433767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čku Žiž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8954418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oskovice Mánes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119799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ejnická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2489360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229209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Česká Kam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174730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 péče Choce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953656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até rodiny Ulrychova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583088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bo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48820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zké domy s.r.o Lovos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Chrud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447560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98E19316-6850-41B8-9FEA-8130CACEFC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0943751"/>
              </p:ext>
            </p:extLst>
          </p:nvPr>
        </p:nvGraphicFramePr>
        <p:xfrm>
          <a:off x="8762002" y="987423"/>
          <a:ext cx="724898" cy="5460980"/>
        </p:xfrm>
        <a:graphic>
          <a:graphicData uri="http://schemas.openxmlformats.org/drawingml/2006/table">
            <a:tbl>
              <a:tblPr/>
              <a:tblGrid>
                <a:gridCol w="724898">
                  <a:extLst>
                    <a:ext uri="{9D8B030D-6E8A-4147-A177-3AD203B41FA5}">
                      <a16:colId xmlns:a16="http://schemas.microsoft.com/office/drawing/2014/main" val="1989000463"/>
                    </a:ext>
                  </a:extLst>
                </a:gridCol>
              </a:tblGrid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353392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835174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653467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6261570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1089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801719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619631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687562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37499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452385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393244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58291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77154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21920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607945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448200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5979019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730266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944374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7408519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1122598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23894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243502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619457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3780140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890348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825413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1177233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října 2020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9. 12. 2021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0C9FB-2949-4B26-B792-61AF25EF78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478840"/>
              </p:ext>
            </p:extLst>
          </p:nvPr>
        </p:nvGraphicFramePr>
        <p:xfrm>
          <a:off x="1093233" y="762000"/>
          <a:ext cx="8958646" cy="5686417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22591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4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5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0 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8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4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204550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27188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973795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6092428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4906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32421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68367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52512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2704925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jmové aktivit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02692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412420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61213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69942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19163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866367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52779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DBE3DC47-2A00-4C1B-82E5-9B8A7BFE53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0294589"/>
              </p:ext>
            </p:extLst>
          </p:nvPr>
        </p:nvGraphicFramePr>
        <p:xfrm>
          <a:off x="8800417" y="1158871"/>
          <a:ext cx="657907" cy="5289543"/>
        </p:xfrm>
        <a:graphic>
          <a:graphicData uri="http://schemas.openxmlformats.org/drawingml/2006/table">
            <a:tbl>
              <a:tblPr/>
              <a:tblGrid>
                <a:gridCol w="657907">
                  <a:extLst>
                    <a:ext uri="{9D8B030D-6E8A-4147-A177-3AD203B41FA5}">
                      <a16:colId xmlns:a16="http://schemas.microsoft.com/office/drawing/2014/main" val="4119272519"/>
                    </a:ext>
                  </a:extLst>
                </a:gridCol>
              </a:tblGrid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2596244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9557230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7734065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8247524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3225664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193351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6590127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2480165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1905086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813820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141598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7938186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3213461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8339408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8979225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0424317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3700275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1543150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6716667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1554730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3148680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737649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1456780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7904835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4632068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4857875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4416933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ledna 2021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9. 12. 2021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68AE7B0F-05ED-4C12-89D3-29AC69571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105598"/>
              </p:ext>
            </p:extLst>
          </p:nvPr>
        </p:nvGraphicFramePr>
        <p:xfrm>
          <a:off x="1104900" y="718064"/>
          <a:ext cx="8958646" cy="5730352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4411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877 (15 56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80 (1 32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397 (12 77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62 (1 13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 651 (78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42 (5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23 (21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 (1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60 (1 39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5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83 (3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91 (10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3 (13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1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 (1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(3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1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 (2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1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199736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88325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491564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4883858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357033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8371184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076674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91215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817810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144375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528170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21677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631813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51448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61999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F8AA8311-83CF-40BE-9B08-408DCE2F85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2763882"/>
              </p:ext>
            </p:extLst>
          </p:nvPr>
        </p:nvGraphicFramePr>
        <p:xfrm>
          <a:off x="7361314" y="5543019"/>
          <a:ext cx="4556155" cy="866620"/>
        </p:xfrm>
        <a:graphic>
          <a:graphicData uri="http://schemas.openxmlformats.org/drawingml/2006/table">
            <a:tbl>
              <a:tblPr/>
              <a:tblGrid>
                <a:gridCol w="911231">
                  <a:extLst>
                    <a:ext uri="{9D8B030D-6E8A-4147-A177-3AD203B41FA5}">
                      <a16:colId xmlns:a16="http://schemas.microsoft.com/office/drawing/2014/main" val="302085617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23782520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7360113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194748359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668856520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746649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62946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1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7435512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8888258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55650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E71F1DE4-D0A8-434C-AC3F-542C924E4F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2483250"/>
              </p:ext>
            </p:extLst>
          </p:nvPr>
        </p:nvGraphicFramePr>
        <p:xfrm>
          <a:off x="7362824" y="5543019"/>
          <a:ext cx="4554645" cy="874168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3095516016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608611904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66915260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601984592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41058914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5415512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7492510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19. 12. 2021</a:t>
            </a: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2/2021 k 19. 12.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4174078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3303664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4" name="Obdélník 23">
            <a:extLst>
              <a:ext uri="{FF2B5EF4-FFF2-40B4-BE49-F238E27FC236}">
                <a16:creationId xmlns:a16="http://schemas.microsoft.com/office/drawing/2014/main" id="{D036907E-4A47-4792-B2DB-628CFFE084EE}"/>
              </a:ext>
            </a:extLst>
          </p:cNvPr>
          <p:cNvSpPr/>
          <p:nvPr/>
        </p:nvSpPr>
        <p:spPr>
          <a:xfrm>
            <a:off x="2851741" y="1185499"/>
            <a:ext cx="27443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*</a:t>
            </a: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1064244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1. – 15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7950296"/>
              </p:ext>
            </p:extLst>
          </p:nvPr>
        </p:nvGraphicFramePr>
        <p:xfrm>
          <a:off x="1372685" y="1009673"/>
          <a:ext cx="9684753" cy="530708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0868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Libeň, Praha 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NA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Hluboká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atie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Tel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IRI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1807022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 Zlosy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4923974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-komplex Lužec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0337858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SC Malá Čermná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28174903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omár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60267598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rý klíč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0781992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Rybalkova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8468394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5999739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K Prádelně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03920505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Hrází Pe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55810615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Chod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0882213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Semily,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5508506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Sob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2188933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4549633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37657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6. 11. – 30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5056010"/>
              </p:ext>
            </p:extLst>
          </p:nvPr>
        </p:nvGraphicFramePr>
        <p:xfrm>
          <a:off x="1372685" y="1009673"/>
          <a:ext cx="9684753" cy="469580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34440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i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Rey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EN pro SEN Javor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 - 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iatrické centrum Týniště nad Orlic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Praha 15, DPS Ja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ab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entrin Unhošť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iln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e Věž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323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grované centrum Vilémov pro osoby se zdr.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00310336"/>
                  </a:ext>
                </a:extLst>
              </a:tr>
              <a:tr h="4680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centrum pro osoby se zdravotním postižením Ostrava, příspěvková organizace  Domov Třeb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00101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2"/>
  <p:tag name="SLIDEFAB_RESIZEMOD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  <p:tag name="SLIDEFAB_RESIZEMOD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8122</TotalTime>
  <Words>14353</Words>
  <Application>Microsoft Office PowerPoint</Application>
  <PresentationFormat>Širokoúhlá obrazovka</PresentationFormat>
  <Paragraphs>6151</Paragraphs>
  <Slides>57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7</vt:i4>
      </vt:variant>
    </vt:vector>
  </HeadingPairs>
  <TitlesOfParts>
    <vt:vector size="61" baseType="lpstr">
      <vt:lpstr>Arial</vt:lpstr>
      <vt:lpstr>Calibri</vt:lpstr>
      <vt:lpstr>Roboto</vt:lpstr>
      <vt:lpstr>Motiv Office</vt:lpstr>
      <vt:lpstr>Datová a informační základna  pro management pandemie COVID-19</vt:lpstr>
      <vt:lpstr>Úvod – zdroje dat a koncepce analýz </vt:lpstr>
      <vt:lpstr>Prezentace aplikace PowerPoint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Datová a informační základna  pro management pandemie COVID-19</vt:lpstr>
      <vt:lpstr>Prezentace aplikace PowerPoint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Počet nově pozitivních klientů v sociálních službách</vt:lpstr>
      <vt:lpstr>Počet nově pozitivních pracovníků v sociálních službách</vt:lpstr>
      <vt:lpstr>Počet nově pozitivních osob v sociálních službách</vt:lpstr>
      <vt:lpstr>Počet nově pozitivních pracovníků a klientů v sociálních službách</vt:lpstr>
      <vt:lpstr>Počet zemřelých klientů v sociálních službách</vt:lpstr>
      <vt:lpstr>Počet zemřelých klientů a pracovníků v sociálních službách</vt:lpstr>
      <vt:lpstr>Klienti a pracovníci v sociálních službách vyžadující hospitalizaci z důvodu COVID-19</vt:lpstr>
      <vt:lpstr>Klienti a pracovníci v sociálních službách s těžkým průběhem nemoci</vt:lpstr>
      <vt:lpstr>Datová a informační základna  pro management pandemie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Události řešené od 1. října 2020 – celá ČR</vt:lpstr>
      <vt:lpstr>Události řešené od 1. ledna 2021 – celá Č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Dušek Ladislav prof. RNDr. Ph.D.</cp:lastModifiedBy>
  <cp:revision>556</cp:revision>
  <dcterms:created xsi:type="dcterms:W3CDTF">2020-11-14T10:09:00Z</dcterms:created>
  <dcterms:modified xsi:type="dcterms:W3CDTF">2021-12-20T15:09:58Z</dcterms:modified>
</cp:coreProperties>
</file>